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6"/>
  </p:notesMasterIdLst>
  <p:sldIdLst>
    <p:sldId id="261" r:id="rId6"/>
    <p:sldId id="269" r:id="rId7"/>
    <p:sldId id="270" r:id="rId8"/>
    <p:sldId id="275" r:id="rId9"/>
    <p:sldId id="268" r:id="rId10"/>
    <p:sldId id="259" r:id="rId11"/>
    <p:sldId id="264" r:id="rId12"/>
    <p:sldId id="274" r:id="rId13"/>
    <p:sldId id="277" r:id="rId14"/>
    <p:sldId id="273" r:id="rId15"/>
  </p:sldIdLst>
  <p:sldSz cx="9144000" cy="5111750"/>
  <p:notesSz cx="14255750" cy="9774238"/>
  <p:custDataLst>
    <p:tags r:id="rId17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106EBE-8068-434C-8316-2B0B6F76A800}" v="8" dt="2024-06-11T07:46:16.178"/>
    <p1510:client id="{C0B6E7DC-0448-43D1-82B8-227DAF8C55E9}" v="39" dt="2024-06-10T10:33:27.2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Tennbakk Bockman" userId="S::lars.bockman@fornybarnorge.no::5a235df0-e381-4c4c-99ce-24b4b21fb9d1" providerId="AD" clId="Web-{BAE85A8C-C2C4-873F-9DA4-6AB4D439F0C5}"/>
    <pc:docChg chg="addSld delSld modSld">
      <pc:chgData name="Lars Tennbakk Bockman" userId="S::lars.bockman@fornybarnorge.no::5a235df0-e381-4c4c-99ce-24b4b21fb9d1" providerId="AD" clId="Web-{BAE85A8C-C2C4-873F-9DA4-6AB4D439F0C5}" dt="2024-05-24T14:10:58.800" v="49"/>
      <pc:docMkLst>
        <pc:docMk/>
      </pc:docMkLst>
      <pc:sldChg chg="modSp add del replId">
        <pc:chgData name="Lars Tennbakk Bockman" userId="S::lars.bockman@fornybarnorge.no::5a235df0-e381-4c4c-99ce-24b4b21fb9d1" providerId="AD" clId="Web-{BAE85A8C-C2C4-873F-9DA4-6AB4D439F0C5}" dt="2024-05-24T14:06:18.931" v="13"/>
        <pc:sldMkLst>
          <pc:docMk/>
          <pc:sldMk cId="120293974" sldId="276"/>
        </pc:sldMkLst>
        <pc:spChg chg="mod">
          <ac:chgData name="Lars Tennbakk Bockman" userId="S::lars.bockman@fornybarnorge.no::5a235df0-e381-4c4c-99ce-24b4b21fb9d1" providerId="AD" clId="Web-{BAE85A8C-C2C4-873F-9DA4-6AB4D439F0C5}" dt="2024-05-24T14:06:14.884" v="12" actId="20577"/>
          <ac:spMkLst>
            <pc:docMk/>
            <pc:sldMk cId="120293974" sldId="276"/>
            <ac:spMk id="4" creationId="{BF121519-CDDC-1962-9CD6-6AAC2E69BFCB}"/>
          </ac:spMkLst>
        </pc:spChg>
      </pc:sldChg>
      <pc:sldChg chg="addSp delSp modSp add replId">
        <pc:chgData name="Lars Tennbakk Bockman" userId="S::lars.bockman@fornybarnorge.no::5a235df0-e381-4c4c-99ce-24b4b21fb9d1" providerId="AD" clId="Web-{BAE85A8C-C2C4-873F-9DA4-6AB4D439F0C5}" dt="2024-05-24T14:10:58.800" v="49"/>
        <pc:sldMkLst>
          <pc:docMk/>
          <pc:sldMk cId="4123918659" sldId="276"/>
        </pc:sldMkLst>
        <pc:spChg chg="mod">
          <ac:chgData name="Lars Tennbakk Bockman" userId="S::lars.bockman@fornybarnorge.no::5a235df0-e381-4c4c-99ce-24b4b21fb9d1" providerId="AD" clId="Web-{BAE85A8C-C2C4-873F-9DA4-6AB4D439F0C5}" dt="2024-05-24T14:10:41.393" v="43" actId="14100"/>
          <ac:spMkLst>
            <pc:docMk/>
            <pc:sldMk cId="4123918659" sldId="276"/>
            <ac:spMk id="2" creationId="{C4156261-E1C9-2286-1892-F2CC3F37CA3E}"/>
          </ac:spMkLst>
        </pc:spChg>
        <pc:spChg chg="del mod">
          <ac:chgData name="Lars Tennbakk Bockman" userId="S::lars.bockman@fornybarnorge.no::5a235df0-e381-4c4c-99ce-24b4b21fb9d1" providerId="AD" clId="Web-{BAE85A8C-C2C4-873F-9DA4-6AB4D439F0C5}" dt="2024-05-24T14:10:58.800" v="49"/>
          <ac:spMkLst>
            <pc:docMk/>
            <pc:sldMk cId="4123918659" sldId="276"/>
            <ac:spMk id="11" creationId="{57A60D7B-702C-A706-64FD-CDEEDECD6266}"/>
          </ac:spMkLst>
        </pc:spChg>
        <pc:graphicFrameChg chg="del mod modGraphic">
          <ac:chgData name="Lars Tennbakk Bockman" userId="S::lars.bockman@fornybarnorge.no::5a235df0-e381-4c4c-99ce-24b4b21fb9d1" providerId="AD" clId="Web-{BAE85A8C-C2C4-873F-9DA4-6AB4D439F0C5}" dt="2024-05-24T14:06:34.338" v="19"/>
          <ac:graphicFrameMkLst>
            <pc:docMk/>
            <pc:sldMk cId="4123918659" sldId="276"/>
            <ac:graphicFrameMk id="3" creationId="{C11B810A-CBB4-85BA-0F71-0E261F64A84A}"/>
          </ac:graphicFrameMkLst>
        </pc:graphicFrameChg>
        <pc:graphicFrameChg chg="del mod modGraphic">
          <ac:chgData name="Lars Tennbakk Bockman" userId="S::lars.bockman@fornybarnorge.no::5a235df0-e381-4c4c-99ce-24b4b21fb9d1" providerId="AD" clId="Web-{BAE85A8C-C2C4-873F-9DA4-6AB4D439F0C5}" dt="2024-05-24T14:06:40.650" v="22"/>
          <ac:graphicFrameMkLst>
            <pc:docMk/>
            <pc:sldMk cId="4123918659" sldId="276"/>
            <ac:graphicFrameMk id="7" creationId="{2706DAED-C870-5851-E0A8-73F89F01C778}"/>
          </ac:graphicFrameMkLst>
        </pc:graphicFrameChg>
        <pc:graphicFrameChg chg="del">
          <ac:chgData name="Lars Tennbakk Bockman" userId="S::lars.bockman@fornybarnorge.no::5a235df0-e381-4c4c-99ce-24b4b21fb9d1" providerId="AD" clId="Web-{BAE85A8C-C2C4-873F-9DA4-6AB4D439F0C5}" dt="2024-05-24T14:06:37.181" v="20"/>
          <ac:graphicFrameMkLst>
            <pc:docMk/>
            <pc:sldMk cId="4123918659" sldId="276"/>
            <ac:graphicFrameMk id="8" creationId="{9D907BB4-9F15-FD3A-91D5-E60990E33FBE}"/>
          </ac:graphicFrameMkLst>
        </pc:graphicFrameChg>
        <pc:picChg chg="add mod">
          <ac:chgData name="Lars Tennbakk Bockman" userId="S::lars.bockman@fornybarnorge.no::5a235df0-e381-4c4c-99ce-24b4b21fb9d1" providerId="AD" clId="Web-{BAE85A8C-C2C4-873F-9DA4-6AB4D439F0C5}" dt="2024-05-24T14:10:53.909" v="47" actId="14100"/>
          <ac:picMkLst>
            <pc:docMk/>
            <pc:sldMk cId="4123918659" sldId="276"/>
            <ac:picMk id="6" creationId="{E74EA589-72EA-AA47-0E44-BCAE8A4D908E}"/>
          </ac:picMkLst>
        </pc:picChg>
      </pc:sldChg>
    </pc:docChg>
  </pc:docChgLst>
  <pc:docChgLst>
    <pc:chgData name="Lars Tennbakk Bockman" userId="S::lars.bockman@fornybarnorge.no::5a235df0-e381-4c4c-99ce-24b4b21fb9d1" providerId="AD" clId="Web-{6A2BD51F-F03C-92F3-41DE-FF0876E0A761}"/>
    <pc:docChg chg="modSld">
      <pc:chgData name="Lars Tennbakk Bockman" userId="S::lars.bockman@fornybarnorge.no::5a235df0-e381-4c4c-99ce-24b4b21fb9d1" providerId="AD" clId="Web-{6A2BD51F-F03C-92F3-41DE-FF0876E0A761}" dt="2024-06-05T13:56:33.387" v="45" actId="20577"/>
      <pc:docMkLst>
        <pc:docMk/>
      </pc:docMkLst>
      <pc:sldChg chg="modSp modCm">
        <pc:chgData name="Lars Tennbakk Bockman" userId="S::lars.bockman@fornybarnorge.no::5a235df0-e381-4c4c-99ce-24b4b21fb9d1" providerId="AD" clId="Web-{6A2BD51F-F03C-92F3-41DE-FF0876E0A761}" dt="2024-06-05T13:56:33.387" v="45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6A2BD51F-F03C-92F3-41DE-FF0876E0A761}" dt="2024-06-05T13:56:33.387" v="45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6A2BD51F-F03C-92F3-41DE-FF0876E0A761}" dt="2024-06-05T13:56:33.387" v="45" actId="20577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6A2BD51F-F03C-92F3-41DE-FF0876E0A761}" dt="2024-06-05T13:56:33.387" v="45" actId="20577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49FDBC75-4CCE-CB32-F36A-1DA4126E09D9}"/>
    <pc:docChg chg="modSld">
      <pc:chgData name="Lars Tennbakk Bockman" userId="S::lars.bockman@fornybarnorge.no::5a235df0-e381-4c4c-99ce-24b4b21fb9d1" providerId="AD" clId="Web-{49FDBC75-4CCE-CB32-F36A-1DA4126E09D9}" dt="2024-04-03T08:36:42.371" v="1" actId="20577"/>
      <pc:docMkLst>
        <pc:docMk/>
      </pc:docMkLst>
      <pc:sldChg chg="modSp">
        <pc:chgData name="Lars Tennbakk Bockman" userId="S::lars.bockman@fornybarnorge.no::5a235df0-e381-4c4c-99ce-24b4b21fb9d1" providerId="AD" clId="Web-{49FDBC75-4CCE-CB32-F36A-1DA4126E09D9}" dt="2024-04-03T08:36:42.371" v="1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49FDBC75-4CCE-CB32-F36A-1DA4126E09D9}" dt="2024-04-03T08:36:42.371" v="1" actId="20577"/>
          <ac:spMkLst>
            <pc:docMk/>
            <pc:sldMk cId="3149972175" sldId="261"/>
            <ac:spMk id="2" creationId="{EB808BFC-B71A-C9E5-5827-2A0376474563}"/>
          </ac:spMkLst>
        </pc:spChg>
      </pc:sldChg>
    </pc:docChg>
  </pc:docChgLst>
  <pc:docChgLst>
    <pc:chgData name="Iselin Ekeli Rønningsbakk" userId="187300ae-9cb6-416d-8a94-664ca977a24d" providerId="ADAL" clId="{750B9AAA-1068-463C-A928-621951E880E7}"/>
    <pc:docChg chg="modSld">
      <pc:chgData name="Iselin Ekeli Rønningsbakk" userId="187300ae-9cb6-416d-8a94-664ca977a24d" providerId="ADAL" clId="{750B9AAA-1068-463C-A928-621951E880E7}" dt="2024-05-08T11:20:58.602" v="1158" actId="20577"/>
      <pc:docMkLst>
        <pc:docMk/>
      </pc:docMkLst>
      <pc:sldChg chg="modSp mod">
        <pc:chgData name="Iselin Ekeli Rønningsbakk" userId="187300ae-9cb6-416d-8a94-664ca977a24d" providerId="ADAL" clId="{750B9AAA-1068-463C-A928-621951E880E7}" dt="2024-05-08T11:20:58.602" v="1158" actId="20577"/>
        <pc:sldMkLst>
          <pc:docMk/>
          <pc:sldMk cId="4148148830" sldId="259"/>
        </pc:sldMkLst>
        <pc:spChg chg="mod">
          <ac:chgData name="Iselin Ekeli Rønningsbakk" userId="187300ae-9cb6-416d-8a94-664ca977a24d" providerId="ADAL" clId="{750B9AAA-1068-463C-A928-621951E880E7}" dt="2024-05-08T11:20:58.602" v="1158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modSp mod addCm modCm">
        <pc:chgData name="Iselin Ekeli Rønningsbakk" userId="187300ae-9cb6-416d-8a94-664ca977a24d" providerId="ADAL" clId="{750B9AAA-1068-463C-A928-621951E880E7}" dt="2024-05-08T11:15:34.355" v="1117" actId="255"/>
        <pc:sldMkLst>
          <pc:docMk/>
          <pc:sldMk cId="3809428704" sldId="268"/>
        </pc:sldMkLst>
        <pc:spChg chg="mod">
          <ac:chgData name="Iselin Ekeli Rønningsbakk" userId="187300ae-9cb6-416d-8a94-664ca977a24d" providerId="ADAL" clId="{750B9AAA-1068-463C-A928-621951E880E7}" dt="2024-05-08T11:15:27.579" v="1116" actId="255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Iselin Ekeli Rønningsbakk" userId="187300ae-9cb6-416d-8a94-664ca977a24d" providerId="ADAL" clId="{750B9AAA-1068-463C-A928-621951E880E7}" dt="2024-05-08T11:15:34.355" v="1117" actId="255"/>
          <ac:spMkLst>
            <pc:docMk/>
            <pc:sldMk cId="3809428704" sldId="268"/>
            <ac:spMk id="3" creationId="{8A3EFEB1-D7F7-A46E-7DED-AE462CEAB1A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Iselin Ekeli Rønningsbakk" userId="187300ae-9cb6-416d-8a94-664ca977a24d" providerId="ADAL" clId="{750B9AAA-1068-463C-A928-621951E880E7}" dt="2024-05-08T11:07:50.447" v="432" actId="20577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  <pc:sldChg chg="modSp mod">
        <pc:chgData name="Iselin Ekeli Rønningsbakk" userId="187300ae-9cb6-416d-8a94-664ca977a24d" providerId="ADAL" clId="{750B9AAA-1068-463C-A928-621951E880E7}" dt="2024-05-06T08:26:32.020" v="95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750B9AAA-1068-463C-A928-621951E880E7}" dt="2024-05-06T08:26:32.020" v="95" actId="6549"/>
          <ac:spMkLst>
            <pc:docMk/>
            <pc:sldMk cId="964345901" sldId="269"/>
            <ac:spMk id="15" creationId="{04DCDA78-71F1-811A-A7B3-AF6C80100E58}"/>
          </ac:spMkLst>
        </pc:spChg>
      </pc:sldChg>
    </pc:docChg>
  </pc:docChgLst>
  <pc:docChgLst>
    <pc:chgData name="Lars Tennbakk Bockman" userId="5a235df0-e381-4c4c-99ce-24b4b21fb9d1" providerId="ADAL" clId="{D8FC7D48-BB51-4BF8-9320-0C2DEEC22118}"/>
    <pc:docChg chg="modSld">
      <pc:chgData name="Lars Tennbakk Bockman" userId="5a235df0-e381-4c4c-99ce-24b4b21fb9d1" providerId="ADAL" clId="{D8FC7D48-BB51-4BF8-9320-0C2DEEC22118}" dt="2024-04-26T12:44:00.145" v="2317" actId="20577"/>
      <pc:docMkLst>
        <pc:docMk/>
      </pc:docMkLst>
      <pc:sldChg chg="addSp modSp mod">
        <pc:chgData name="Lars Tennbakk Bockman" userId="5a235df0-e381-4c4c-99ce-24b4b21fb9d1" providerId="ADAL" clId="{D8FC7D48-BB51-4BF8-9320-0C2DEEC22118}" dt="2024-04-26T12:44:00.145" v="2317" actId="20577"/>
        <pc:sldMkLst>
          <pc:docMk/>
          <pc:sldMk cId="3809428704" sldId="268"/>
        </pc:sldMkLst>
        <pc:spChg chg="add mod">
          <ac:chgData name="Lars Tennbakk Bockman" userId="5a235df0-e381-4c4c-99ce-24b4b21fb9d1" providerId="ADAL" clId="{D8FC7D48-BB51-4BF8-9320-0C2DEEC22118}" dt="2024-04-26T11:25:04.981" v="2129" actId="20578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Lars Tennbakk Bockman" userId="5a235df0-e381-4c4c-99ce-24b4b21fb9d1" providerId="ADAL" clId="{D8FC7D48-BB51-4BF8-9320-0C2DEEC22118}" dt="2024-04-26T12:44:00.145" v="2317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modSp mod">
        <pc:chgData name="Lars Tennbakk Bockman" userId="5a235df0-e381-4c4c-99ce-24b4b21fb9d1" providerId="ADAL" clId="{D8FC7D48-BB51-4BF8-9320-0C2DEEC22118}" dt="2024-04-26T11:01:20.305" v="61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D8FC7D48-BB51-4BF8-9320-0C2DEEC22118}" dt="2024-04-26T11:01:20.305" v="61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ngeborg Aarø" userId="fe5f74f8-3120-49da-a10f-7c51be1254b1" providerId="ADAL" clId="{3E23246F-6FD0-B24D-8CF4-75D0BC8AB8A9}"/>
    <pc:docChg chg="custSel modSld">
      <pc:chgData name="Ingeborg Aarø" userId="fe5f74f8-3120-49da-a10f-7c51be1254b1" providerId="ADAL" clId="{3E23246F-6FD0-B24D-8CF4-75D0BC8AB8A9}" dt="2024-06-05T11:10:17.415" v="7" actId="14100"/>
      <pc:docMkLst>
        <pc:docMk/>
      </pc:docMkLst>
      <pc:sldChg chg="addSp delSp modSp mod">
        <pc:chgData name="Ingeborg Aarø" userId="fe5f74f8-3120-49da-a10f-7c51be1254b1" providerId="ADAL" clId="{3E23246F-6FD0-B24D-8CF4-75D0BC8AB8A9}" dt="2024-06-05T11:10:17.415" v="7" actId="14100"/>
        <pc:sldMkLst>
          <pc:docMk/>
          <pc:sldMk cId="3149972175" sldId="261"/>
        </pc:sldMkLst>
        <pc:picChg chg="del">
          <ac:chgData name="Ingeborg Aarø" userId="fe5f74f8-3120-49da-a10f-7c51be1254b1" providerId="ADAL" clId="{3E23246F-6FD0-B24D-8CF4-75D0BC8AB8A9}" dt="2024-06-05T11:09:56.758" v="0" actId="478"/>
          <ac:picMkLst>
            <pc:docMk/>
            <pc:sldMk cId="3149972175" sldId="261"/>
            <ac:picMk id="4" creationId="{A59844B1-9FC8-FC56-428A-4133A67D4341}"/>
          </ac:picMkLst>
        </pc:picChg>
        <pc:picChg chg="add mod">
          <ac:chgData name="Ingeborg Aarø" userId="fe5f74f8-3120-49da-a10f-7c51be1254b1" providerId="ADAL" clId="{3E23246F-6FD0-B24D-8CF4-75D0BC8AB8A9}" dt="2024-06-05T11:10:17.415" v="7" actId="14100"/>
          <ac:picMkLst>
            <pc:docMk/>
            <pc:sldMk cId="3149972175" sldId="261"/>
            <ac:picMk id="10" creationId="{916CE268-1055-5179-8138-AC5C45371492}"/>
          </ac:picMkLst>
        </pc:picChg>
      </pc:sldChg>
    </pc:docChg>
  </pc:docChgLst>
  <pc:docChgLst>
    <pc:chgData name="Lars Tennbakk Bockman" userId="5a235df0-e381-4c4c-99ce-24b4b21fb9d1" providerId="ADAL" clId="{2A9B793B-E7F3-45B6-8056-E74BFFFEF538}"/>
    <pc:docChg chg="undo custSel modSld">
      <pc:chgData name="Lars Tennbakk Bockman" userId="5a235df0-e381-4c4c-99ce-24b4b21fb9d1" providerId="ADAL" clId="{2A9B793B-E7F3-45B6-8056-E74BFFFEF538}" dt="2024-04-12T11:02:21.519" v="1452" actId="14100"/>
      <pc:docMkLst>
        <pc:docMk/>
      </pc:docMkLst>
      <pc:sldChg chg="modSp mod">
        <pc:chgData name="Lars Tennbakk Bockman" userId="5a235df0-e381-4c4c-99ce-24b4b21fb9d1" providerId="ADAL" clId="{2A9B793B-E7F3-45B6-8056-E74BFFFEF538}" dt="2024-04-10T12:49:44.559" v="1139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A9B793B-E7F3-45B6-8056-E74BFFFEF538}" dt="2024-04-10T12:49:44.559" v="1139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Tennbakk Bockman" userId="5a235df0-e381-4c4c-99ce-24b4b21fb9d1" providerId="ADAL" clId="{2A9B793B-E7F3-45B6-8056-E74BFFFEF538}" dt="2024-04-12T11:02:21.519" v="1452" actId="14100"/>
        <pc:sldMkLst>
          <pc:docMk/>
          <pc:sldMk cId="3149972175" sldId="261"/>
        </pc:sldMkLst>
        <pc:spChg chg="add del">
          <ac:chgData name="Lars Tennbakk Bockman" userId="5a235df0-e381-4c4c-99ce-24b4b21fb9d1" providerId="ADAL" clId="{2A9B793B-E7F3-45B6-8056-E74BFFFEF538}" dt="2024-04-12T11:01:36.648" v="1445" actId="478"/>
          <ac:spMkLst>
            <pc:docMk/>
            <pc:sldMk cId="3149972175" sldId="261"/>
            <ac:spMk id="3" creationId="{D833EDB0-2FBD-F858-E9D8-E247E7591AA6}"/>
          </ac:spMkLst>
        </pc:spChg>
        <pc:spChg chg="mod">
          <ac:chgData name="Lars Tennbakk Bockman" userId="5a235df0-e381-4c4c-99ce-24b4b21fb9d1" providerId="ADAL" clId="{2A9B793B-E7F3-45B6-8056-E74BFFFEF538}" dt="2024-04-10T10:30:54.632" v="691" actId="13926"/>
          <ac:spMkLst>
            <pc:docMk/>
            <pc:sldMk cId="3149972175" sldId="261"/>
            <ac:spMk id="15" creationId="{71CD328A-FCBF-98DB-A3A2-36A13A7E9980}"/>
          </ac:spMkLst>
        </pc:spChg>
        <pc:picChg chg="add mod">
          <ac:chgData name="Lars Tennbakk Bockman" userId="5a235df0-e381-4c4c-99ce-24b4b21fb9d1" providerId="ADAL" clId="{2A9B793B-E7F3-45B6-8056-E74BFFFEF538}" dt="2024-04-12T11:02:21.519" v="1452" actId="14100"/>
          <ac:picMkLst>
            <pc:docMk/>
            <pc:sldMk cId="3149972175" sldId="261"/>
            <ac:picMk id="8" creationId="{8024784E-B6AC-28D7-0AB0-ADE7E934E7A1}"/>
          </ac:picMkLst>
        </pc:picChg>
        <pc:picChg chg="del">
          <ac:chgData name="Lars Tennbakk Bockman" userId="5a235df0-e381-4c4c-99ce-24b4b21fb9d1" providerId="ADAL" clId="{2A9B793B-E7F3-45B6-8056-E74BFFFEF538}" dt="2024-04-12T11:01:34.351" v="1443" actId="478"/>
          <ac:picMkLst>
            <pc:docMk/>
            <pc:sldMk cId="3149972175" sldId="261"/>
            <ac:picMk id="9" creationId="{44CEDB3C-E57F-F323-62AD-0E388B9FAAD8}"/>
          </ac:picMkLst>
        </pc:picChg>
      </pc:sldChg>
      <pc:sldChg chg="addSp delSp modSp mod">
        <pc:chgData name="Lars Tennbakk Bockman" userId="5a235df0-e381-4c4c-99ce-24b4b21fb9d1" providerId="ADAL" clId="{2A9B793B-E7F3-45B6-8056-E74BFFFEF538}" dt="2024-04-10T12:52:37.290" v="1159" actId="14100"/>
        <pc:sldMkLst>
          <pc:docMk/>
          <pc:sldMk cId="362544367" sldId="264"/>
        </pc:sldMkLst>
        <pc:spChg chg="mod">
          <ac:chgData name="Lars Tennbakk Bockman" userId="5a235df0-e381-4c4c-99ce-24b4b21fb9d1" providerId="ADAL" clId="{2A9B793B-E7F3-45B6-8056-E74BFFFEF538}" dt="2024-04-10T12:52:37.290" v="1159" actId="14100"/>
          <ac:spMkLst>
            <pc:docMk/>
            <pc:sldMk cId="362544367" sldId="264"/>
            <ac:spMk id="6" creationId="{43281BD6-61B8-4DBB-3558-178E91D04924}"/>
          </ac:spMkLst>
        </pc:spChg>
        <pc:graphicFrameChg chg="mod modGraphic">
          <ac:chgData name="Lars Tennbakk Bockman" userId="5a235df0-e381-4c4c-99ce-24b4b21fb9d1" providerId="ADAL" clId="{2A9B793B-E7F3-45B6-8056-E74BFFFEF538}" dt="2024-04-10T12:52:33.367" v="1158" actId="14100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Tennbakk Bockman" userId="5a235df0-e381-4c4c-99ce-24b4b21fb9d1" providerId="ADAL" clId="{2A9B793B-E7F3-45B6-8056-E74BFFFEF538}" dt="2024-04-10T12:50:24.143" v="1142" actId="12385"/>
          <ac:graphicFrameMkLst>
            <pc:docMk/>
            <pc:sldMk cId="362544367" sldId="264"/>
            <ac:graphicFrameMk id="10" creationId="{A69C24CA-7411-4742-B8B0-4E6A225ADD6D}"/>
          </ac:graphicFrameMkLst>
        </pc:graphicFrameChg>
        <pc:graphicFrameChg chg="add del mod">
          <ac:chgData name="Lars Tennbakk Bockman" userId="5a235df0-e381-4c4c-99ce-24b4b21fb9d1" providerId="ADAL" clId="{2A9B793B-E7F3-45B6-8056-E74BFFFEF538}" dt="2024-04-10T12:50:43.207" v="1144" actId="478"/>
          <ac:graphicFrameMkLst>
            <pc:docMk/>
            <pc:sldMk cId="362544367" sldId="264"/>
            <ac:graphicFrameMk id="12" creationId="{0D589D52-C113-6F16-013A-F0F2DEF4EC12}"/>
          </ac:graphicFrameMkLst>
        </pc:graphicFrameChg>
      </pc:sldChg>
      <pc:sldChg chg="delSp modSp mod">
        <pc:chgData name="Lars Tennbakk Bockman" userId="5a235df0-e381-4c4c-99ce-24b4b21fb9d1" providerId="ADAL" clId="{2A9B793B-E7F3-45B6-8056-E74BFFFEF538}" dt="2024-04-10T10:32:06.934" v="701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A9B793B-E7F3-45B6-8056-E74BFFFEF538}" dt="2024-04-10T10:32:06.934" v="701" actId="20577"/>
          <ac:spMkLst>
            <pc:docMk/>
            <pc:sldMk cId="3809428704" sldId="268"/>
            <ac:spMk id="3" creationId="{8A3EFEB1-D7F7-A46E-7DED-AE462CEAB1A0}"/>
          </ac:spMkLst>
        </pc:spChg>
        <pc:spChg chg="del mod">
          <ac:chgData name="Lars Tennbakk Bockman" userId="5a235df0-e381-4c4c-99ce-24b4b21fb9d1" providerId="ADAL" clId="{2A9B793B-E7F3-45B6-8056-E74BFFFEF538}" dt="2024-04-10T10:31:32.670" v="694"/>
          <ac:spMkLst>
            <pc:docMk/>
            <pc:sldMk cId="3809428704" sldId="268"/>
            <ac:spMk id="4" creationId="{D1901E2F-AFF3-2F50-C7AA-0E8DFCDE0BD5}"/>
          </ac:spMkLst>
        </pc:spChg>
      </pc:sldChg>
      <pc:sldChg chg="modSp mod modCm">
        <pc:chgData name="Lars Tennbakk Bockman" userId="5a235df0-e381-4c4c-99ce-24b4b21fb9d1" providerId="ADAL" clId="{2A9B793B-E7F3-45B6-8056-E74BFFFEF538}" dt="2024-04-10T12:09:50.921" v="724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2A9B793B-E7F3-45B6-8056-E74BFFFEF538}" dt="2024-04-10T12:09:50.921" v="724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2A9B793B-E7F3-45B6-8056-E74BFFFEF538}" dt="2024-04-10T10:11:04.831" v="0" actId="14826"/>
          <ac:picMkLst>
            <pc:docMk/>
            <pc:sldMk cId="964345901" sldId="269"/>
            <ac:picMk id="9" creationId="{D21B8C53-AA53-A852-4492-9BA4D601B04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A9B793B-E7F3-45B6-8056-E74BFFFEF538}" dt="2024-04-10T12:09:50.921" v="724" actId="20577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Lars Tennbakk Bockman" userId="5a235df0-e381-4c4c-99ce-24b4b21fb9d1" providerId="ADAL" clId="{2A9B793B-E7F3-45B6-8056-E74BFFFEF538}" dt="2024-04-10T10:14:14.814" v="290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2A9B793B-E7F3-45B6-8056-E74BFFFEF538}" dt="2024-04-10T10:14:14.814" v="290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2A9B793B-E7F3-45B6-8056-E74BFFFEF538}" dt="2024-04-10T10:11:14.140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modSp mod">
        <pc:chgData name="Lars Tennbakk Bockman" userId="5a235df0-e381-4c4c-99ce-24b4b21fb9d1" providerId="ADAL" clId="{2A9B793B-E7F3-45B6-8056-E74BFFFEF538}" dt="2024-04-10T12:57:51.231" v="1442" actId="20577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A9B793B-E7F3-45B6-8056-E74BFFFEF538}" dt="2024-04-10T12:57:51.231" v="1442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 modGraphic">
          <ac:chgData name="Lars Tennbakk Bockman" userId="5a235df0-e381-4c4c-99ce-24b4b21fb9d1" providerId="ADAL" clId="{2A9B793B-E7F3-45B6-8056-E74BFFFEF538}" dt="2024-04-10T12:53:19.734" v="1167" actId="1076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Graphic">
          <ac:chgData name="Lars Tennbakk Bockman" userId="5a235df0-e381-4c4c-99ce-24b4b21fb9d1" providerId="ADAL" clId="{2A9B793B-E7F3-45B6-8056-E74BFFFEF538}" dt="2024-04-10T12:55:52.886" v="1312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</pc:sldChg>
      <pc:sldChg chg="modSp mod">
        <pc:chgData name="Lars Tennbakk Bockman" userId="5a235df0-e381-4c4c-99ce-24b4b21fb9d1" providerId="ADAL" clId="{2A9B793B-E7F3-45B6-8056-E74BFFFEF538}" dt="2024-04-10T10:16:53.063" v="58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2A9B793B-E7F3-45B6-8056-E74BFFFEF538}" dt="2024-04-10T10:16:53.063" v="586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ngeborg Aarø" userId="S::ingeborg.aaro@fornybarnorge.no::fe5f74f8-3120-49da-a10f-7c51be1254b1" providerId="AD" clId="Web-{49594A3B-2D5F-9DAF-A814-9A3960F084FD}"/>
    <pc:docChg chg="modSld">
      <pc:chgData name="Ingeborg Aarø" userId="S::ingeborg.aaro@fornybarnorge.no::fe5f74f8-3120-49da-a10f-7c51be1254b1" providerId="AD" clId="Web-{49594A3B-2D5F-9DAF-A814-9A3960F084FD}" dt="2024-06-05T11:09:23.309" v="15" actId="14100"/>
      <pc:docMkLst>
        <pc:docMk/>
      </pc:docMkLst>
      <pc:sldChg chg="addSp delSp modSp">
        <pc:chgData name="Ingeborg Aarø" userId="S::ingeborg.aaro@fornybarnorge.no::fe5f74f8-3120-49da-a10f-7c51be1254b1" providerId="AD" clId="Web-{49594A3B-2D5F-9DAF-A814-9A3960F084FD}" dt="2024-06-05T11:09:23.309" v="15" actId="14100"/>
        <pc:sldMkLst>
          <pc:docMk/>
          <pc:sldMk cId="3149972175" sldId="261"/>
        </pc:sldMkLst>
        <pc:picChg chg="add del mod">
          <ac:chgData name="Ingeborg Aarø" userId="S::ingeborg.aaro@fornybarnorge.no::fe5f74f8-3120-49da-a10f-7c51be1254b1" providerId="AD" clId="Web-{49594A3B-2D5F-9DAF-A814-9A3960F084FD}" dt="2024-06-05T11:08:47.556" v="10"/>
          <ac:picMkLst>
            <pc:docMk/>
            <pc:sldMk cId="3149972175" sldId="261"/>
            <ac:picMk id="3" creationId="{C530B3AF-9A17-91BC-0FA3-405F5F7DA319}"/>
          </ac:picMkLst>
        </pc:picChg>
        <pc:picChg chg="add mod">
          <ac:chgData name="Ingeborg Aarø" userId="S::ingeborg.aaro@fornybarnorge.no::fe5f74f8-3120-49da-a10f-7c51be1254b1" providerId="AD" clId="Web-{49594A3B-2D5F-9DAF-A814-9A3960F084FD}" dt="2024-06-05T11:09:23.309" v="15" actId="14100"/>
          <ac:picMkLst>
            <pc:docMk/>
            <pc:sldMk cId="3149972175" sldId="261"/>
            <ac:picMk id="4" creationId="{A59844B1-9FC8-FC56-428A-4133A67D4341}"/>
          </ac:picMkLst>
        </pc:picChg>
        <pc:picChg chg="del">
          <ac:chgData name="Ingeborg Aarø" userId="S::ingeborg.aaro@fornybarnorge.no::fe5f74f8-3120-49da-a10f-7c51be1254b1" providerId="AD" clId="Web-{49594A3B-2D5F-9DAF-A814-9A3960F084FD}" dt="2024-06-05T11:07:30.474" v="1"/>
          <ac:picMkLst>
            <pc:docMk/>
            <pc:sldMk cId="3149972175" sldId="261"/>
            <ac:picMk id="8" creationId="{8024784E-B6AC-28D7-0AB0-ADE7E934E7A1}"/>
          </ac:picMkLst>
        </pc:picChg>
      </pc:sldChg>
      <pc:sldChg chg="modSp">
        <pc:chgData name="Ingeborg Aarø" userId="S::ingeborg.aaro@fornybarnorge.no::fe5f74f8-3120-49da-a10f-7c51be1254b1" providerId="AD" clId="Web-{49594A3B-2D5F-9DAF-A814-9A3960F084FD}" dt="2024-06-05T10:35:55.885" v="0" actId="20577"/>
        <pc:sldMkLst>
          <pc:docMk/>
          <pc:sldMk cId="362544367" sldId="264"/>
        </pc:sldMkLst>
        <pc:spChg chg="mod">
          <ac:chgData name="Ingeborg Aarø" userId="S::ingeborg.aaro@fornybarnorge.no::fe5f74f8-3120-49da-a10f-7c51be1254b1" providerId="AD" clId="Web-{49594A3B-2D5F-9DAF-A814-9A3960F084FD}" dt="2024-06-05T10:35:55.885" v="0" actId="20577"/>
          <ac:spMkLst>
            <pc:docMk/>
            <pc:sldMk cId="362544367" sldId="264"/>
            <ac:spMk id="2" creationId="{5213922F-444B-9587-AFC4-5C4C6A8D8FDB}"/>
          </ac:spMkLst>
        </pc:spChg>
      </pc:sldChg>
    </pc:docChg>
  </pc:docChgLst>
  <pc:docChgLst>
    <pc:chgData name="Iselin Ekeli Rønningsbakk" userId="187300ae-9cb6-416d-8a94-664ca977a24d" providerId="ADAL" clId="{F1D83740-C90A-443B-A813-B62DF0466D34}"/>
    <pc:docChg chg="">
      <pc:chgData name="Iselin Ekeli Rønningsbakk" userId="187300ae-9cb6-416d-8a94-664ca977a24d" providerId="ADAL" clId="{F1D83740-C90A-443B-A813-B62DF0466D34}" dt="2024-04-10T11:40:34.581" v="0"/>
      <pc:docMkLst>
        <pc:docMk/>
      </pc:docMkLst>
      <pc:sldChg chg="addCm">
        <pc:chgData name="Iselin Ekeli Rønningsbakk" userId="187300ae-9cb6-416d-8a94-664ca977a24d" providerId="ADAL" clId="{F1D83740-C90A-443B-A813-B62DF0466D34}" dt="2024-04-10T11:40:34.581" v="0"/>
        <pc:sldMkLst>
          <pc:docMk/>
          <pc:sldMk cId="964345901" sldId="2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F1D83740-C90A-443B-A813-B62DF0466D34}" dt="2024-04-10T11:40:34.581" v="0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03106EBE-8068-434C-8316-2B0B6F76A800}"/>
    <pc:docChg chg="custSel modSld">
      <pc:chgData name="Iselin Ekeli Rønningsbakk" userId="187300ae-9cb6-416d-8a94-664ca977a24d" providerId="ADAL" clId="{03106EBE-8068-434C-8316-2B0B6F76A800}" dt="2024-06-11T07:46:16.178" v="1457" actId="6549"/>
      <pc:docMkLst>
        <pc:docMk/>
      </pc:docMkLst>
      <pc:sldChg chg="modSp mod addCm delCm modCm">
        <pc:chgData name="Iselin Ekeli Rønningsbakk" userId="187300ae-9cb6-416d-8a94-664ca977a24d" providerId="ADAL" clId="{03106EBE-8068-434C-8316-2B0B6F76A800}" dt="2024-06-11T07:46:16.178" v="1457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03106EBE-8068-434C-8316-2B0B6F76A800}" dt="2024-06-11T07:46:16.178" v="1457" actId="6549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Iselin Ekeli Rønningsbakk" userId="187300ae-9cb6-416d-8a94-664ca977a24d" providerId="ADAL" clId="{03106EBE-8068-434C-8316-2B0B6F76A800}" dt="2024-06-11T07:45:56.261" v="1450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add del mod">
              <pc226:chgData name="Iselin Ekeli Rønningsbakk" userId="187300ae-9cb6-416d-8a94-664ca977a24d" providerId="ADAL" clId="{03106EBE-8068-434C-8316-2B0B6F76A800}" dt="2024-06-11T07:45:56.992" v="1451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  <pc226:cmChg xmlns:pc226="http://schemas.microsoft.com/office/powerpoint/2022/06/main/command" chg="add del mod">
              <pc226:chgData name="Iselin Ekeli Rønningsbakk" userId="187300ae-9cb6-416d-8a94-664ca977a24d" providerId="ADAL" clId="{03106EBE-8068-434C-8316-2B0B6F76A800}" dt="2024-06-05T11:24:55.836" v="48"/>
              <pc2:cmMkLst xmlns:pc2="http://schemas.microsoft.com/office/powerpoint/2019/9/main/command">
                <pc:docMk/>
                <pc:sldMk cId="3149972175" sldId="261"/>
                <pc2:cmMk id="{805FAB88-C444-4CB6-A02D-8E4BC0A1B88B}"/>
              </pc2:cmMkLst>
            </pc226:cmChg>
          </p:ext>
        </pc:extLst>
      </pc:sldChg>
      <pc:sldChg chg="modSp mod">
        <pc:chgData name="Iselin Ekeli Rønningsbakk" userId="187300ae-9cb6-416d-8a94-664ca977a24d" providerId="ADAL" clId="{03106EBE-8068-434C-8316-2B0B6F76A800}" dt="2024-06-07T12:31:33.557" v="1449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03106EBE-8068-434C-8316-2B0B6F76A800}" dt="2024-06-07T12:30:07.010" v="1368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03106EBE-8068-434C-8316-2B0B6F76A800}" dt="2024-06-07T12:31:33.557" v="1449" actId="20577"/>
          <ac:spMkLst>
            <pc:docMk/>
            <pc:sldMk cId="3809428704" sldId="268"/>
            <ac:spMk id="4" creationId="{EDE8794F-575C-3BB7-2A52-BE419AB5A1C1}"/>
          </ac:spMkLst>
        </pc:spChg>
      </pc:sldChg>
      <pc:sldChg chg="modSp mod">
        <pc:chgData name="Iselin Ekeli Rønningsbakk" userId="187300ae-9cb6-416d-8a94-664ca977a24d" providerId="ADAL" clId="{03106EBE-8068-434C-8316-2B0B6F76A800}" dt="2024-06-05T12:44:26.969" v="635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03106EBE-8068-434C-8316-2B0B6F76A800}" dt="2024-06-05T12:44:26.969" v="635" actId="6549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Iselin Ekeli Rønningsbakk" userId="187300ae-9cb6-416d-8a94-664ca977a24d" providerId="ADAL" clId="{03106EBE-8068-434C-8316-2B0B6F76A800}" dt="2024-06-07T11:18:42.233" v="1313" actId="6549"/>
        <pc:sldMkLst>
          <pc:docMk/>
          <pc:sldMk cId="4275014000" sldId="270"/>
        </pc:sldMkLst>
        <pc:spChg chg="mod">
          <ac:chgData name="Iselin Ekeli Rønningsbakk" userId="187300ae-9cb6-416d-8a94-664ca977a24d" providerId="ADAL" clId="{03106EBE-8068-434C-8316-2B0B6F76A800}" dt="2024-06-07T11:18:42.233" v="1313" actId="6549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Lars Tennbakk Bockman" userId="5a235df0-e381-4c4c-99ce-24b4b21fb9d1" providerId="ADAL" clId="{BEBA20C9-0E5E-4395-BCBC-0549F97599C0}"/>
    <pc:docChg chg="modSld">
      <pc:chgData name="Lars Tennbakk Bockman" userId="5a235df0-e381-4c4c-99ce-24b4b21fb9d1" providerId="ADAL" clId="{BEBA20C9-0E5E-4395-BCBC-0549F97599C0}" dt="2024-05-13T07:45:51.413" v="6"/>
      <pc:docMkLst>
        <pc:docMk/>
      </pc:docMkLst>
      <pc:sldChg chg="modSp">
        <pc:chgData name="Lars Tennbakk Bockman" userId="5a235df0-e381-4c4c-99ce-24b4b21fb9d1" providerId="ADAL" clId="{BEBA20C9-0E5E-4395-BCBC-0549F97599C0}" dt="2024-05-13T07:44:11.953" v="0" actId="14826"/>
        <pc:sldMkLst>
          <pc:docMk/>
          <pc:sldMk cId="3149972175" sldId="261"/>
        </pc:sldMkLst>
        <pc:picChg chg="mod">
          <ac:chgData name="Lars Tennbakk Bockman" userId="5a235df0-e381-4c4c-99ce-24b4b21fb9d1" providerId="ADAL" clId="{BEBA20C9-0E5E-4395-BCBC-0549F97599C0}" dt="2024-05-13T07:44:11.953" v="0" actId="14826"/>
          <ac:picMkLst>
            <pc:docMk/>
            <pc:sldMk cId="3149972175" sldId="261"/>
            <ac:picMk id="8" creationId="{8024784E-B6AC-28D7-0AB0-ADE7E934E7A1}"/>
          </ac:picMkLst>
        </pc:picChg>
      </pc:sldChg>
      <pc:sldChg chg="modCm">
        <pc:chgData name="Lars Tennbakk Bockman" userId="5a235df0-e381-4c4c-99ce-24b4b21fb9d1" providerId="ADAL" clId="{BEBA20C9-0E5E-4395-BCBC-0549F97599C0}" dt="2024-05-13T07:45:51.413" v="6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Lars Tennbakk Bockman" userId="5a235df0-e381-4c4c-99ce-24b4b21fb9d1" providerId="ADAL" clId="{BEBA20C9-0E5E-4395-BCBC-0549F97599C0}" dt="2024-05-13T07:45:51.413" v="6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  <pc226:cmRplyChg chg="add">
                <pc226:chgData name="Lars Tennbakk Bockman" userId="5a235df0-e381-4c4c-99ce-24b4b21fb9d1" providerId="ADAL" clId="{BEBA20C9-0E5E-4395-BCBC-0549F97599C0}" dt="2024-05-13T07:45:51.413" v="6"/>
                <pc2:cmRplyMkLst xmlns:pc2="http://schemas.microsoft.com/office/powerpoint/2019/9/main/command">
                  <pc:docMk/>
                  <pc:sldMk cId="3809428704" sldId="268"/>
                  <pc2:cmMk id="{97225C20-E4DC-4851-AA9D-66978ACF5BAB}"/>
                  <pc2:cmRplyMk id="{18A6AE06-4812-45F8-A912-92D8A8CB7EBF}"/>
                </pc2:cmRplyMkLst>
              </pc226:cmRplyChg>
            </pc226:cmChg>
          </p:ext>
        </pc:extLst>
      </pc:sldChg>
      <pc:sldChg chg="modSp mod">
        <pc:chgData name="Lars Tennbakk Bockman" userId="5a235df0-e381-4c4c-99ce-24b4b21fb9d1" providerId="ADAL" clId="{BEBA20C9-0E5E-4395-BCBC-0549F97599C0}" dt="2024-05-13T07:44:44.288" v="5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BEBA20C9-0E5E-4395-BCBC-0549F97599C0}" dt="2024-05-13T07:44:44.288" v="5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Bockman" userId="5a235df0-e381-4c4c-99ce-24b4b21fb9d1" providerId="ADAL" clId="{C0B6E7DC-0448-43D1-82B8-227DAF8C55E9}"/>
    <pc:docChg chg="modSld">
      <pc:chgData name="Lars Bockman" userId="5a235df0-e381-4c4c-99ce-24b4b21fb9d1" providerId="ADAL" clId="{C0B6E7DC-0448-43D1-82B8-227DAF8C55E9}" dt="2024-06-10T10:33:27.210" v="38" actId="20577"/>
      <pc:docMkLst>
        <pc:docMk/>
      </pc:docMkLst>
      <pc:sldChg chg="modSp mod modCm">
        <pc:chgData name="Lars Bockman" userId="5a235df0-e381-4c4c-99ce-24b4b21fb9d1" providerId="ADAL" clId="{C0B6E7DC-0448-43D1-82B8-227DAF8C55E9}" dt="2024-06-10T10:33:05.080" v="15" actId="20577"/>
        <pc:sldMkLst>
          <pc:docMk/>
          <pc:sldMk cId="3149972175" sldId="261"/>
        </pc:sldMkLst>
        <pc:spChg chg="mod">
          <ac:chgData name="Lars Bockman" userId="5a235df0-e381-4c4c-99ce-24b4b21fb9d1" providerId="ADAL" clId="{C0B6E7DC-0448-43D1-82B8-227DAF8C55E9}" dt="2024-06-10T10:33:05.080" v="15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Bockman" userId="5a235df0-e381-4c4c-99ce-24b4b21fb9d1" providerId="ADAL" clId="{C0B6E7DC-0448-43D1-82B8-227DAF8C55E9}" dt="2024-06-10T10:33:05.080" v="15" actId="20577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mod">
              <pc226:chgData name="Lars Bockman" userId="5a235df0-e381-4c4c-99ce-24b4b21fb9d1" providerId="ADAL" clId="{C0B6E7DC-0448-43D1-82B8-227DAF8C55E9}" dt="2024-06-10T10:33:05.080" v="15" actId="20577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  <pc:sldChg chg="modSp mod">
        <pc:chgData name="Lars Bockman" userId="5a235df0-e381-4c4c-99ce-24b4b21fb9d1" providerId="ADAL" clId="{C0B6E7DC-0448-43D1-82B8-227DAF8C55E9}" dt="2024-06-10T10:33:27.210" v="38" actId="20577"/>
        <pc:sldMkLst>
          <pc:docMk/>
          <pc:sldMk cId="964345901" sldId="269"/>
        </pc:sldMkLst>
        <pc:spChg chg="mod">
          <ac:chgData name="Lars Bockman" userId="5a235df0-e381-4c4c-99ce-24b4b21fb9d1" providerId="ADAL" clId="{C0B6E7DC-0448-43D1-82B8-227DAF8C55E9}" dt="2024-06-10T10:33:27.210" v="38" actId="20577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Lars Bockman" userId="5a235df0-e381-4c4c-99ce-24b4b21fb9d1" providerId="ADAL" clId="{C0B6E7DC-0448-43D1-82B8-227DAF8C55E9}" dt="2024-06-10T08:42:51.664" v="3" actId="20577"/>
        <pc:sldMkLst>
          <pc:docMk/>
          <pc:sldMk cId="1400664593" sldId="275"/>
        </pc:sldMkLst>
        <pc:spChg chg="mod">
          <ac:chgData name="Lars Bockman" userId="5a235df0-e381-4c4c-99ce-24b4b21fb9d1" providerId="ADAL" clId="{C0B6E7DC-0448-43D1-82B8-227DAF8C55E9}" dt="2024-06-10T08:42:51.664" v="3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selin Ekeli Rønningsbakk" userId="187300ae-9cb6-416d-8a94-664ca977a24d" providerId="ADAL" clId="{9B70D854-A452-4942-8D56-AD61F5B81B85}"/>
    <pc:docChg chg="modSld">
      <pc:chgData name="Iselin Ekeli Rønningsbakk" userId="187300ae-9cb6-416d-8a94-664ca977a24d" providerId="ADAL" clId="{9B70D854-A452-4942-8D56-AD61F5B81B85}" dt="2024-04-11T12:51:18.637" v="644" actId="6549"/>
      <pc:docMkLst>
        <pc:docMk/>
      </pc:docMkLst>
      <pc:sldChg chg="modSp mod">
        <pc:chgData name="Iselin Ekeli Rønningsbakk" userId="187300ae-9cb6-416d-8a94-664ca977a24d" providerId="ADAL" clId="{9B70D854-A452-4942-8D56-AD61F5B81B85}" dt="2024-04-11T12:51:18.637" v="644" actId="6549"/>
        <pc:sldMkLst>
          <pc:docMk/>
          <pc:sldMk cId="362544367" sldId="264"/>
        </pc:sldMkLst>
        <pc:spChg chg="mod">
          <ac:chgData name="Iselin Ekeli Rønningsbakk" userId="187300ae-9cb6-416d-8a94-664ca977a24d" providerId="ADAL" clId="{9B70D854-A452-4942-8D56-AD61F5B81B85}" dt="2024-04-11T12:51:18.637" v="644" actId="6549"/>
          <ac:spMkLst>
            <pc:docMk/>
            <pc:sldMk cId="362544367" sldId="264"/>
            <ac:spMk id="2" creationId="{5213922F-444B-9587-AFC4-5C4C6A8D8FDB}"/>
          </ac:spMkLst>
        </pc:spChg>
      </pc:sldChg>
      <pc:sldChg chg="modSp mod">
        <pc:chgData name="Iselin Ekeli Rønningsbakk" userId="187300ae-9cb6-416d-8a94-664ca977a24d" providerId="ADAL" clId="{9B70D854-A452-4942-8D56-AD61F5B81B85}" dt="2024-04-11T12:50:32.816" v="633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9B70D854-A452-4942-8D56-AD61F5B81B85}" dt="2024-04-11T12:50:32.816" v="633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9B70D854-A452-4942-8D56-AD61F5B81B85}" dt="2024-04-11T12:45:29.224" v="11" actId="6549"/>
          <ac:spMkLst>
            <pc:docMk/>
            <pc:sldMk cId="3809428704" sldId="268"/>
            <ac:spMk id="27" creationId="{D4479EF9-3012-3964-A9D0-6C16A3C05105}"/>
          </ac:spMkLst>
        </pc:spChg>
      </pc:sldChg>
      <pc:sldChg chg="addCm">
        <pc:chgData name="Iselin Ekeli Rønningsbakk" userId="187300ae-9cb6-416d-8a94-664ca977a24d" providerId="ADAL" clId="{9B70D854-A452-4942-8D56-AD61F5B81B85}" dt="2024-04-11T12:45:09.778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9B70D854-A452-4942-8D56-AD61F5B81B85}" dt="2024-04-11T12:45:09.778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135D72C6-048A-1E52-1933-57CFC18A5CB6}"/>
    <pc:docChg chg="">
      <pc:chgData name="Lars Tennbakk Bockman" userId="S::lars.bockman@fornybarnorge.no::5a235df0-e381-4c4c-99ce-24b4b21fb9d1" providerId="AD" clId="Web-{135D72C6-048A-1E52-1933-57CFC18A5CB6}" dt="2024-06-05T13:57:23.973" v="0"/>
      <pc:docMkLst>
        <pc:docMk/>
      </pc:docMkLst>
      <pc:sldChg chg="modCm">
        <pc:chgData name="Lars Tennbakk Bockman" userId="S::lars.bockman@fornybarnorge.no::5a235df0-e381-4c4c-99ce-24b4b21fb9d1" providerId="AD" clId="Web-{135D72C6-048A-1E52-1933-57CFC18A5CB6}" dt="2024-06-05T13:57:23.973" v="0"/>
        <pc:sldMkLst>
          <pc:docMk/>
          <pc:sldMk cId="3149972175" sldId="26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135D72C6-048A-1E52-1933-57CFC18A5CB6}" dt="2024-06-05T13:57:23.973" v="0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74867ED9-2A23-4D35-8970-EFBC7EB6A6E5}"/>
    <pc:docChg chg="modSld">
      <pc:chgData name="Iselin Ekeli Rønningsbakk" userId="187300ae-9cb6-416d-8a94-664ca977a24d" providerId="ADAL" clId="{74867ED9-2A23-4D35-8970-EFBC7EB6A6E5}" dt="2024-04-09T12:43:52.958" v="9" actId="20577"/>
      <pc:docMkLst>
        <pc:docMk/>
      </pc:docMkLst>
      <pc:sldChg chg="modSp mod">
        <pc:chgData name="Iselin Ekeli Rønningsbakk" userId="187300ae-9cb6-416d-8a94-664ca977a24d" providerId="ADAL" clId="{74867ED9-2A23-4D35-8970-EFBC7EB6A6E5}" dt="2024-04-09T12:43:52.958" v="9" actId="20577"/>
        <pc:sldMkLst>
          <pc:docMk/>
          <pc:sldMk cId="964345901" sldId="269"/>
        </pc:sldMkLst>
        <pc:spChg chg="mod">
          <ac:chgData name="Iselin Ekeli Rønningsbakk" userId="187300ae-9cb6-416d-8a94-664ca977a24d" providerId="ADAL" clId="{74867ED9-2A23-4D35-8970-EFBC7EB6A6E5}" dt="2024-04-09T12:43:52.958" v="9" actId="20577"/>
          <ac:spMkLst>
            <pc:docMk/>
            <pc:sldMk cId="964345901" sldId="269"/>
            <ac:spMk id="5" creationId="{1AB5B9F3-8F6E-FB63-4035-D0B61CCAA3FF}"/>
          </ac:spMkLst>
        </pc:spChg>
      </pc:sldChg>
      <pc:sldChg chg="modSp mod">
        <pc:chgData name="Iselin Ekeli Rønningsbakk" userId="187300ae-9cb6-416d-8a94-664ca977a24d" providerId="ADAL" clId="{74867ED9-2A23-4D35-8970-EFBC7EB6A6E5}" dt="2024-04-09T12:43:43.093" v="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74867ED9-2A23-4D35-8970-EFBC7EB6A6E5}" dt="2024-04-09T12:43:43.093" v="4" actId="20577"/>
          <ac:spMkLst>
            <pc:docMk/>
            <pc:sldMk cId="4275014000" sldId="270"/>
            <ac:spMk id="7" creationId="{A033AADF-D07F-262B-FDF8-3A80D13F93CB}"/>
          </ac:spMkLst>
        </pc:spChg>
      </pc:sldChg>
    </pc:docChg>
  </pc:docChgLst>
  <pc:docChgLst>
    <pc:chgData name="Lars Tennbakk Bockman" userId="S::lars.bockman@fornybarnorge.no::5a235df0-e381-4c4c-99ce-24b4b21fb9d1" providerId="AD" clId="Web-{EA80F0FD-86BE-F34E-8E62-E82B2CE10331}"/>
    <pc:docChg chg="modSld">
      <pc:chgData name="Lars Tennbakk Bockman" userId="S::lars.bockman@fornybarnorge.no::5a235df0-e381-4c4c-99ce-24b4b21fb9d1" providerId="AD" clId="Web-{EA80F0FD-86BE-F34E-8E62-E82B2CE10331}" dt="2024-04-23T13:08:03.074" v="3" actId="20577"/>
      <pc:docMkLst>
        <pc:docMk/>
      </pc:docMkLst>
      <pc:sldChg chg="delSp modSp">
        <pc:chgData name="Lars Tennbakk Bockman" userId="S::lars.bockman@fornybarnorge.no::5a235df0-e381-4c4c-99ce-24b4b21fb9d1" providerId="AD" clId="Web-{EA80F0FD-86BE-F34E-8E62-E82B2CE10331}" dt="2024-04-23T13:08:03.074" v="3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EA80F0FD-86BE-F34E-8E62-E82B2CE10331}" dt="2024-04-23T13:08:03.074" v="3" actId="20577"/>
          <ac:spMkLst>
            <pc:docMk/>
            <pc:sldMk cId="3149972175" sldId="261"/>
            <ac:spMk id="2" creationId="{EB808BFC-B71A-C9E5-5827-2A0376474563}"/>
          </ac:spMkLst>
        </pc:spChg>
        <pc:picChg chg="del">
          <ac:chgData name="Lars Tennbakk Bockman" userId="S::lars.bockman@fornybarnorge.no::5a235df0-e381-4c4c-99ce-24b4b21fb9d1" providerId="AD" clId="Web-{EA80F0FD-86BE-F34E-8E62-E82B2CE10331}" dt="2024-04-23T13:07:07.508" v="0"/>
          <ac:picMkLst>
            <pc:docMk/>
            <pc:sldMk cId="3149972175" sldId="261"/>
            <ac:picMk id="10" creationId="{607CFFAC-59AF-1273-0123-E7F3000E72DF}"/>
          </ac:picMkLst>
        </pc:picChg>
      </pc:sldChg>
    </pc:docChg>
  </pc:docChgLst>
  <pc:docChgLst>
    <pc:chgData clId="Web-{7492D111-7293-4795-8678-B3671B4EF338}"/>
    <pc:docChg chg="">
      <pc:chgData name="" userId="" providerId="" clId="Web-{7492D111-7293-4795-8678-B3671B4EF338}" dt="2024-04-11T13:36:34.845" v="0"/>
      <pc:docMkLst>
        <pc:docMk/>
      </pc:docMkLst>
      <pc:sldChg chg="modCm">
        <pc:chgData name="" userId="" providerId="" clId="Web-{7492D111-7293-4795-8678-B3671B4EF338}" dt="2024-04-11T13:36:34.845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" userId="" providerId="" clId="Web-{7492D111-7293-4795-8678-B3671B4EF338}" dt="2024-04-11T13:36:34.845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  <pc226:cmRplyChg chg="add">
                <pc226:chgData name="" userId="" providerId="" clId="Web-{7492D111-7293-4795-8678-B3671B4EF338}" dt="2024-04-11T13:36:34.845" v="0"/>
                <pc2:cmRplyMkLst xmlns:pc2="http://schemas.microsoft.com/office/powerpoint/2019/9/main/command">
                  <pc:docMk/>
                  <pc:sldMk cId="1400664593" sldId="275"/>
                  <pc2:cmMk id="{88310999-6D15-4D15-AFB5-1F5C87EC1C7F}"/>
                  <pc2:cmRplyMk id="{F3B0DD81-2270-4688-A805-B32DEDF7D9ED}"/>
                </pc2:cmRplyMkLst>
              </pc226:cmRplyChg>
            </pc226:cmChg>
          </p:ext>
        </pc:extLst>
      </pc:sldChg>
    </pc:docChg>
  </pc:docChgLst>
  <pc:docChgLst>
    <pc:chgData name="Lars Tennbakk Bockman" userId="5a235df0-e381-4c4c-99ce-24b4b21fb9d1" providerId="ADAL" clId="{37EF9059-D99C-4752-86C1-B8EAEF640EE7}"/>
    <pc:docChg chg="custSel modSld">
      <pc:chgData name="Lars Tennbakk Bockman" userId="5a235df0-e381-4c4c-99ce-24b4b21fb9d1" providerId="ADAL" clId="{37EF9059-D99C-4752-86C1-B8EAEF640EE7}" dt="2024-05-03T09:21:35.955" v="166" actId="2711"/>
      <pc:docMkLst>
        <pc:docMk/>
      </pc:docMkLst>
      <pc:sldChg chg="modSp mod">
        <pc:chgData name="Lars Tennbakk Bockman" userId="5a235df0-e381-4c4c-99ce-24b4b21fb9d1" providerId="ADAL" clId="{37EF9059-D99C-4752-86C1-B8EAEF640EE7}" dt="2024-05-03T09:14:57.274" v="49" actId="1076"/>
        <pc:sldMkLst>
          <pc:docMk/>
          <pc:sldMk cId="362544367" sldId="264"/>
        </pc:sldMkLst>
        <pc:spChg chg="mod">
          <ac:chgData name="Lars Tennbakk Bockman" userId="5a235df0-e381-4c4c-99ce-24b4b21fb9d1" providerId="ADAL" clId="{37EF9059-D99C-4752-86C1-B8EAEF640EE7}" dt="2024-05-03T09:14:57.274" v="49" actId="1076"/>
          <ac:spMkLst>
            <pc:docMk/>
            <pc:sldMk cId="362544367" sldId="264"/>
            <ac:spMk id="4" creationId="{113A1B97-60AB-A82D-7695-603B4FDE308B}"/>
          </ac:spMkLst>
        </pc:spChg>
        <pc:spChg chg="mod">
          <ac:chgData name="Lars Tennbakk Bockman" userId="5a235df0-e381-4c4c-99ce-24b4b21fb9d1" providerId="ADAL" clId="{37EF9059-D99C-4752-86C1-B8EAEF640EE7}" dt="2024-05-03T09:14:54.826" v="48" actId="1076"/>
          <ac:spMkLst>
            <pc:docMk/>
            <pc:sldMk cId="362544367" sldId="264"/>
            <ac:spMk id="27" creationId="{1D503F1E-631A-06BB-9FA6-AB5D4E68E9D8}"/>
          </ac:spMkLst>
        </pc:spChg>
        <pc:graphicFrameChg chg="mod modGraphic">
          <ac:chgData name="Lars Tennbakk Bockman" userId="5a235df0-e381-4c4c-99ce-24b4b21fb9d1" providerId="ADAL" clId="{37EF9059-D99C-4752-86C1-B8EAEF640EE7}" dt="2024-05-03T09:14:47.120" v="47" actId="113"/>
          <ac:graphicFrameMkLst>
            <pc:docMk/>
            <pc:sldMk cId="362544367" sldId="264"/>
            <ac:graphicFrameMk id="5" creationId="{131A36CF-B9F9-5E74-5113-847B2A062B33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48.498" v="40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37EF9059-D99C-4752-86C1-B8EAEF640EE7}" dt="2024-05-03T09:12:48.498" v="40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37EF9059-D99C-4752-86C1-B8EAEF640EE7}" dt="2024-05-03T09:05:54.995" v="4" actId="1482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37EF9059-D99C-4752-86C1-B8EAEF640EE7}" dt="2024-05-03T09:01:41.941" v="0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37EF9059-D99C-4752-86C1-B8EAEF640EE7}" dt="2024-05-03T09:05:50.635" v="3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modSp">
        <pc:chgData name="Lars Tennbakk Bockman" userId="5a235df0-e381-4c4c-99ce-24b4b21fb9d1" providerId="ADAL" clId="{37EF9059-D99C-4752-86C1-B8EAEF640EE7}" dt="2024-05-03T09:05:01.521" v="2" actId="14826"/>
        <pc:sldMkLst>
          <pc:docMk/>
          <pc:sldMk cId="4275014000" sldId="270"/>
        </pc:sldMkLst>
        <pc:picChg chg="mod">
          <ac:chgData name="Lars Tennbakk Bockman" userId="5a235df0-e381-4c4c-99ce-24b4b21fb9d1" providerId="ADAL" clId="{37EF9059-D99C-4752-86C1-B8EAEF640EE7}" dt="2024-05-03T09:05:01.521" v="2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37EF9059-D99C-4752-86C1-B8EAEF640EE7}" dt="2024-05-03T09:01:51.173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addSp delSp modSp mod">
        <pc:chgData name="Lars Tennbakk Bockman" userId="5a235df0-e381-4c4c-99ce-24b4b21fb9d1" providerId="ADAL" clId="{37EF9059-D99C-4752-86C1-B8EAEF640EE7}" dt="2024-05-03T09:21:35.955" v="166" actId="2711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37EF9059-D99C-4752-86C1-B8EAEF640EE7}" dt="2024-05-03T09:15:50.910" v="55" actId="1076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del">
          <ac:chgData name="Lars Tennbakk Bockman" userId="5a235df0-e381-4c4c-99ce-24b4b21fb9d1" providerId="ADAL" clId="{37EF9059-D99C-4752-86C1-B8EAEF640EE7}" dt="2024-05-03T09:15:45.278" v="54" actId="478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 modGraphic">
          <ac:chgData name="Lars Tennbakk Bockman" userId="5a235df0-e381-4c4c-99ce-24b4b21fb9d1" providerId="ADAL" clId="{37EF9059-D99C-4752-86C1-B8EAEF640EE7}" dt="2024-05-03T09:21:35.955" v="166" actId="2711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add mod modGraphic">
          <ac:chgData name="Lars Tennbakk Bockman" userId="5a235df0-e381-4c4c-99ce-24b4b21fb9d1" providerId="ADAL" clId="{37EF9059-D99C-4752-86C1-B8EAEF640EE7}" dt="2024-05-03T09:18:01.375" v="91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25.161" v="24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37EF9059-D99C-4752-86C1-B8EAEF640EE7}" dt="2024-05-03T09:12:25.161" v="24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37EF9059-D99C-4752-86C1-B8EAEF640EE7}" dt="2024-05-03T09:11:38.673" v="5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37EF9059-D99C-4752-86C1-B8EAEF640EE7}" dt="2024-05-03T09:11:49.958" v="6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37EF9059-D99C-4752-86C1-B8EAEF640EE7}" dt="2024-05-03T09:12:01.680" v="10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37EF9059-D99C-4752-86C1-B8EAEF640EE7}" dt="2024-05-03T09:11:55.138" v="7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37EF9059-D99C-4752-86C1-B8EAEF640EE7}" dt="2024-05-03T09:11:58.105" v="8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37EF9059-D99C-4752-86C1-B8EAEF640EE7}" dt="2024-05-03T09:12:06.713" v="12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37EF9059-D99C-4752-86C1-B8EAEF640EE7}" dt="2024-05-03T09:12:03.656" v="11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Lars Tennbakk Bockman" userId="5a235df0-e381-4c4c-99ce-24b4b21fb9d1" providerId="ADAL" clId="{A4077F93-E2AB-46E2-80E5-72704175BD0D}"/>
    <pc:docChg chg="undo custSel modSld replTag">
      <pc:chgData name="Lars Tennbakk Bockman" userId="5a235df0-e381-4c4c-99ce-24b4b21fb9d1" providerId="ADAL" clId="{A4077F93-E2AB-46E2-80E5-72704175BD0D}" dt="2024-04-24T08:36:36.047" v="2479"/>
      <pc:docMkLst>
        <pc:docMk/>
      </pc:docMkLst>
      <pc:sldChg chg="addSp delSp modSp mod">
        <pc:chgData name="Lars Tennbakk Bockman" userId="5a235df0-e381-4c4c-99ce-24b4b21fb9d1" providerId="ADAL" clId="{A4077F93-E2AB-46E2-80E5-72704175BD0D}" dt="2024-04-23T14:16:38.831" v="634"/>
        <pc:sldMkLst>
          <pc:docMk/>
          <pc:sldMk cId="3149972175" sldId="261"/>
        </pc:sldMkLst>
        <pc:spChg chg="mod">
          <ac:chgData name="Lars Tennbakk Bockman" userId="5a235df0-e381-4c4c-99ce-24b4b21fb9d1" providerId="ADAL" clId="{A4077F93-E2AB-46E2-80E5-72704175BD0D}" dt="2024-04-23T14:16:38.831" v="632" actId="20578"/>
          <ac:spMkLst>
            <pc:docMk/>
            <pc:sldMk cId="3149972175" sldId="261"/>
            <ac:spMk id="2" creationId="{EB808BFC-B71A-C9E5-5827-2A0376474563}"/>
          </ac:spMkLst>
        </pc:spChg>
        <pc:spChg chg="add del mod modVis">
          <ac:chgData name="Lars Tennbakk Bockman" userId="5a235df0-e381-4c4c-99ce-24b4b21fb9d1" providerId="ADAL" clId="{A4077F93-E2AB-46E2-80E5-72704175BD0D}" dt="2024-04-23T14:16:38.831" v="632" actId="20578"/>
          <ac:spMkLst>
            <pc:docMk/>
            <pc:sldMk cId="3149972175" sldId="261"/>
            <ac:spMk id="3" creationId="{330BFE76-8C95-FEAC-9455-D826D5D03DC4}"/>
          </ac:spMkLst>
        </pc:spChg>
        <pc:spChg chg="mod">
          <ac:chgData name="Lars Tennbakk Bockman" userId="5a235df0-e381-4c4c-99ce-24b4b21fb9d1" providerId="ADAL" clId="{A4077F93-E2AB-46E2-80E5-72704175BD0D}" dt="2024-04-23T13:27:46.779" v="582" actId="27636"/>
          <ac:spMkLst>
            <pc:docMk/>
            <pc:sldMk cId="3149972175" sldId="261"/>
            <ac:spMk id="15" creationId="{71CD328A-FCBF-98DB-A3A2-36A13A7E9980}"/>
          </ac:spMkLst>
        </pc:spChg>
        <pc:graphicFrameChg chg="mod">
          <ac:chgData name="Lars Tennbakk Bockman" userId="5a235df0-e381-4c4c-99ce-24b4b21fb9d1" providerId="ADAL" clId="{A4077F93-E2AB-46E2-80E5-72704175BD0D}" dt="2024-04-23T14:16:38.831" v="634"/>
          <ac:graphicFrameMkLst>
            <pc:docMk/>
            <pc:sldMk cId="3149972175" sldId="261"/>
            <ac:graphicFrameMk id="5" creationId="{9E8B56EC-7292-D1FD-439F-B85706CC2184}"/>
          </ac:graphicFrameMkLst>
        </pc:graphicFrameChg>
      </pc:sldChg>
      <pc:sldChg chg="addSp delSp modSp mod">
        <pc:chgData name="Lars Tennbakk Bockman" userId="5a235df0-e381-4c4c-99ce-24b4b21fb9d1" providerId="ADAL" clId="{A4077F93-E2AB-46E2-80E5-72704175BD0D}" dt="2024-04-24T08:36:36.047" v="2479"/>
        <pc:sldMkLst>
          <pc:docMk/>
          <pc:sldMk cId="3809428704" sldId="268"/>
        </pc:sldMkLst>
        <pc:spChg chg="add del mod modVis">
          <ac:chgData name="Lars Tennbakk Bockman" userId="5a235df0-e381-4c4c-99ce-24b4b21fb9d1" providerId="ADAL" clId="{A4077F93-E2AB-46E2-80E5-72704175BD0D}" dt="2024-04-24T08:36:36.047" v="2477"/>
          <ac:spMkLst>
            <pc:docMk/>
            <pc:sldMk cId="3809428704" sldId="268"/>
            <ac:spMk id="2" creationId="{02C68F92-9892-1D7C-43AF-816B81E5A0D4}"/>
          </ac:spMkLst>
        </pc:spChg>
        <pc:spChg chg="mod">
          <ac:chgData name="Lars Tennbakk Bockman" userId="5a235df0-e381-4c4c-99ce-24b4b21fb9d1" providerId="ADAL" clId="{A4077F93-E2AB-46E2-80E5-72704175BD0D}" dt="2024-04-24T08:36:30.493" v="2448" actId="14100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A4077F93-E2AB-46E2-80E5-72704175BD0D}" dt="2024-04-24T08:36:36.025" v="2454" actId="948"/>
          <ac:spMkLst>
            <pc:docMk/>
            <pc:sldMk cId="3809428704" sldId="268"/>
            <ac:spMk id="27" creationId="{D4479EF9-3012-3964-A9D0-6C16A3C05105}"/>
          </ac:spMkLst>
        </pc:spChg>
        <pc:graphicFrameChg chg="mod">
          <ac:chgData name="Lars Tennbakk Bockman" userId="5a235df0-e381-4c4c-99ce-24b4b21fb9d1" providerId="ADAL" clId="{A4077F93-E2AB-46E2-80E5-72704175BD0D}" dt="2024-04-24T08:36:36.047" v="2479"/>
          <ac:graphicFrameMkLst>
            <pc:docMk/>
            <pc:sldMk cId="3809428704" sldId="268"/>
            <ac:graphicFrameMk id="5" creationId="{F357CBFE-67B8-6958-F926-F7EF5569B0E6}"/>
          </ac:graphicFrameMkLst>
        </pc:graphicFrameChg>
      </pc:sldChg>
      <pc:sldChg chg="addSp delSp modSp mod delCm">
        <pc:chgData name="Lars Tennbakk Bockman" userId="5a235df0-e381-4c4c-99ce-24b4b21fb9d1" providerId="ADAL" clId="{A4077F93-E2AB-46E2-80E5-72704175BD0D}" dt="2024-04-24T08:09:03.368" v="1239" actId="1076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A4077F93-E2AB-46E2-80E5-72704175BD0D}" dt="2024-04-23T14:17:15.368" v="685"/>
          <ac:spMkLst>
            <pc:docMk/>
            <pc:sldMk cId="964345901" sldId="269"/>
            <ac:spMk id="6" creationId="{B33C0800-73F2-F632-4692-530780223507}"/>
          </ac:spMkLst>
        </pc:spChg>
        <pc:spChg chg="add del mod modVis">
          <ac:chgData name="Lars Tennbakk Bockman" userId="5a235df0-e381-4c4c-99ce-24b4b21fb9d1" providerId="ADAL" clId="{A4077F93-E2AB-46E2-80E5-72704175BD0D}" dt="2024-04-23T14:17:22.045" v="712"/>
          <ac:spMkLst>
            <pc:docMk/>
            <pc:sldMk cId="964345901" sldId="269"/>
            <ac:spMk id="8" creationId="{21E7340A-604C-25E6-111D-578B728AB28F}"/>
          </ac:spMkLst>
        </pc:spChg>
        <pc:spChg chg="add del mod modVis">
          <ac:chgData name="Lars Tennbakk Bockman" userId="5a235df0-e381-4c4c-99ce-24b4b21fb9d1" providerId="ADAL" clId="{A4077F93-E2AB-46E2-80E5-72704175BD0D}" dt="2024-04-23T14:17:23.150" v="743"/>
          <ac:spMkLst>
            <pc:docMk/>
            <pc:sldMk cId="964345901" sldId="269"/>
            <ac:spMk id="10" creationId="{30CA4C6B-8335-73D2-BB64-676407DFF91D}"/>
          </ac:spMkLst>
        </pc:spChg>
        <pc:spChg chg="mod">
          <ac:chgData name="Lars Tennbakk Bockman" userId="5a235df0-e381-4c4c-99ce-24b4b21fb9d1" providerId="ADAL" clId="{A4077F93-E2AB-46E2-80E5-72704175BD0D}" dt="2024-04-23T14:20:26.607" v="932" actId="948"/>
          <ac:spMkLst>
            <pc:docMk/>
            <pc:sldMk cId="964345901" sldId="269"/>
            <ac:spMk id="11" creationId="{C9D230B1-551A-0E7A-96AB-ADE59A906758}"/>
          </ac:spMkLst>
        </pc:spChg>
        <pc:spChg chg="add del mod modVis">
          <ac:chgData name="Lars Tennbakk Bockman" userId="5a235df0-e381-4c4c-99ce-24b4b21fb9d1" providerId="ADAL" clId="{A4077F93-E2AB-46E2-80E5-72704175BD0D}" dt="2024-04-23T14:20:26.622" v="955"/>
          <ac:spMkLst>
            <pc:docMk/>
            <pc:sldMk cId="964345901" sldId="269"/>
            <ac:spMk id="12" creationId="{4D4FA26A-2C5E-8800-D081-439696FBADE7}"/>
          </ac:spMkLst>
        </pc:spChg>
        <pc:spChg chg="mod">
          <ac:chgData name="Lars Tennbakk Bockman" userId="5a235df0-e381-4c4c-99ce-24b4b21fb9d1" providerId="ADAL" clId="{A4077F93-E2AB-46E2-80E5-72704175BD0D}" dt="2024-04-24T08:08:50.859" v="123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A4077F93-E2AB-46E2-80E5-72704175BD0D}" dt="2024-04-23T14:20:26.638" v="957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A4077F93-E2AB-46E2-80E5-72704175BD0D}" dt="2024-04-24T08:09:03.368" v="1239" actId="107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A4077F93-E2AB-46E2-80E5-72704175BD0D}" dt="2024-04-23T14:17:41.389" v="808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A4077F93-E2AB-46E2-80E5-72704175BD0D}" dt="2024-04-24T08:07:12.290" v="1123" actId="20577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A4077F93-E2AB-46E2-80E5-72704175BD0D}" dt="2024-04-23T14:17:25.834" v="770"/>
          <ac:spMkLst>
            <pc:docMk/>
            <pc:sldMk cId="4275014000" sldId="270"/>
            <ac:spMk id="8" creationId="{4325FBA9-FB7F-4630-E084-4163074F6525}"/>
          </ac:spMkLst>
        </pc:spChg>
        <pc:spChg chg="add del mod modVis">
          <ac:chgData name="Lars Tennbakk Bockman" userId="5a235df0-e381-4c4c-99ce-24b4b21fb9d1" providerId="ADAL" clId="{A4077F93-E2AB-46E2-80E5-72704175BD0D}" dt="2024-04-23T14:17:26.822" v="800"/>
          <ac:spMkLst>
            <pc:docMk/>
            <pc:sldMk cId="4275014000" sldId="270"/>
            <ac:spMk id="10" creationId="{4C8B0786-4345-23D4-4585-A57E0D9CA16C}"/>
          </ac:spMkLst>
        </pc:spChg>
        <pc:spChg chg="mod">
          <ac:chgData name="Lars Tennbakk Bockman" userId="5a235df0-e381-4c4c-99ce-24b4b21fb9d1" providerId="ADAL" clId="{A4077F93-E2AB-46E2-80E5-72704175BD0D}" dt="2024-04-23T14:17:26.806" v="777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A4077F93-E2AB-46E2-80E5-72704175BD0D}" dt="2024-04-24T08:07:12.290" v="1123" actId="20577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A4077F93-E2AB-46E2-80E5-72704175BD0D}" dt="2024-04-23T14:17:26.822" v="802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A4077F93-E2AB-46E2-80E5-72704175BD0D}" dt="2024-04-24T07:58:04.773" v="958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A4077F93-E2AB-46E2-80E5-72704175BD0D}" dt="2024-04-23T14:17:31.418" v="807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A4077F93-E2AB-46E2-80E5-72704175BD0D}" dt="2024-04-23T14:17:31.418" v="807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Bockman" userId="5a235df0-e381-4c4c-99ce-24b4b21fb9d1" providerId="ADAL" clId="{EDABE23E-248D-4ED0-A77F-ADFCEC09D289}"/>
    <pc:docChg chg="undo redo custSel addSld delSld modSld sldOrd replTag">
      <pc:chgData name="Lars Bockman" userId="5a235df0-e381-4c4c-99ce-24b4b21fb9d1" providerId="ADAL" clId="{EDABE23E-248D-4ED0-A77F-ADFCEC09D289}" dt="2024-06-04T11:03:29.173" v="9429"/>
      <pc:docMkLst>
        <pc:docMk/>
      </pc:docMkLst>
      <pc:sldChg chg="modSp mod">
        <pc:chgData name="Lars Bockman" userId="5a235df0-e381-4c4c-99ce-24b4b21fb9d1" providerId="ADAL" clId="{EDABE23E-248D-4ED0-A77F-ADFCEC09D289}" dt="2024-06-04T11:03:29.173" v="9429"/>
        <pc:sldMkLst>
          <pc:docMk/>
          <pc:sldMk cId="4148148830" sldId="259"/>
        </pc:sldMkLst>
        <pc:spChg chg="mod">
          <ac:chgData name="Lars Bockman" userId="5a235df0-e381-4c4c-99ce-24b4b21fb9d1" providerId="ADAL" clId="{EDABE23E-248D-4ED0-A77F-ADFCEC09D289}" dt="2024-06-04T11:03:29.173" v="9429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Bockman" userId="5a235df0-e381-4c4c-99ce-24b4b21fb9d1" providerId="ADAL" clId="{EDABE23E-248D-4ED0-A77F-ADFCEC09D289}" dt="2024-06-03T08:20:31.189" v="6093" actId="27636"/>
        <pc:sldMkLst>
          <pc:docMk/>
          <pc:sldMk cId="3149972175" sldId="261"/>
        </pc:sldMkLst>
        <pc:spChg chg="mod">
          <ac:chgData name="Lars Bockman" userId="5a235df0-e381-4c4c-99ce-24b4b21fb9d1" providerId="ADAL" clId="{EDABE23E-248D-4ED0-A77F-ADFCEC09D289}" dt="2024-05-27T10:30:40.015" v="3" actId="948"/>
          <ac:spMkLst>
            <pc:docMk/>
            <pc:sldMk cId="3149972175" sldId="261"/>
            <ac:spMk id="2" creationId="{EB808BFC-B71A-C9E5-5827-2A0376474563}"/>
          </ac:spMkLst>
        </pc:spChg>
        <pc:spChg chg="add del mod modVis">
          <ac:chgData name="Lars Bockman" userId="5a235df0-e381-4c4c-99ce-24b4b21fb9d1" providerId="ADAL" clId="{EDABE23E-248D-4ED0-A77F-ADFCEC09D289}" dt="2024-05-27T10:30:40.064" v="26"/>
          <ac:spMkLst>
            <pc:docMk/>
            <pc:sldMk cId="3149972175" sldId="261"/>
            <ac:spMk id="3" creationId="{F8604F48-A325-E667-0300-236E50FE56F8}"/>
          </ac:spMkLst>
        </pc:spChg>
        <pc:spChg chg="mod">
          <ac:chgData name="Lars Bockman" userId="5a235df0-e381-4c4c-99ce-24b4b21fb9d1" providerId="ADAL" clId="{EDABE23E-248D-4ED0-A77F-ADFCEC09D289}" dt="2024-06-03T08:20:31.189" v="6093" actId="27636"/>
          <ac:spMkLst>
            <pc:docMk/>
            <pc:sldMk cId="3149972175" sldId="261"/>
            <ac:spMk id="15" creationId="{71CD328A-FCBF-98DB-A3A2-36A13A7E9980}"/>
          </ac:spMkLst>
        </pc:spChg>
        <pc:graphicFrameChg chg="mod">
          <ac:chgData name="Lars Bockman" userId="5a235df0-e381-4c4c-99ce-24b4b21fb9d1" providerId="ADAL" clId="{EDABE23E-248D-4ED0-A77F-ADFCEC09D289}" dt="2024-05-27T10:30:40.064" v="28"/>
          <ac:graphicFrameMkLst>
            <pc:docMk/>
            <pc:sldMk cId="3149972175" sldId="261"/>
            <ac:graphicFrameMk id="5" creationId="{9E8B56EC-7292-D1FD-439F-B85706CC2184}"/>
          </ac:graphicFrameMkLst>
        </pc:graphicFrameChg>
      </pc:sldChg>
      <pc:sldChg chg="addSp modSp mod">
        <pc:chgData name="Lars Bockman" userId="5a235df0-e381-4c4c-99ce-24b4b21fb9d1" providerId="ADAL" clId="{EDABE23E-248D-4ED0-A77F-ADFCEC09D289}" dt="2024-06-04T07:31:53.165" v="7604" actId="20577"/>
        <pc:sldMkLst>
          <pc:docMk/>
          <pc:sldMk cId="362544367" sldId="264"/>
        </pc:sldMkLst>
        <pc:graphicFrameChg chg="modGraphic">
          <ac:chgData name="Lars Bockman" userId="5a235df0-e381-4c4c-99ce-24b4b21fb9d1" providerId="ADAL" clId="{EDABE23E-248D-4ED0-A77F-ADFCEC09D289}" dt="2024-06-04T07:31:53.165" v="7604" actId="20577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Bockman" userId="5a235df0-e381-4c4c-99ce-24b4b21fb9d1" providerId="ADAL" clId="{EDABE23E-248D-4ED0-A77F-ADFCEC09D289}" dt="2024-06-04T07:28:35.035" v="7396" actId="12385"/>
          <ac:graphicFrameMkLst>
            <pc:docMk/>
            <pc:sldMk cId="362544367" sldId="264"/>
            <ac:graphicFrameMk id="10" creationId="{17380921-DCD0-F301-C201-2C759E302F6F}"/>
          </ac:graphicFrameMkLst>
        </pc:graphicFrameChg>
      </pc:sldChg>
      <pc:sldChg chg="addSp delSp modSp mod">
        <pc:chgData name="Lars Bockman" userId="5a235df0-e381-4c4c-99ce-24b4b21fb9d1" providerId="ADAL" clId="{EDABE23E-248D-4ED0-A77F-ADFCEC09D289}" dt="2024-06-03T08:52:24.354" v="7050" actId="20577"/>
        <pc:sldMkLst>
          <pc:docMk/>
          <pc:sldMk cId="3809428704" sldId="268"/>
        </pc:sldMkLst>
        <pc:spChg chg="del mod">
          <ac:chgData name="Lars Bockman" userId="5a235df0-e381-4c4c-99ce-24b4b21fb9d1" providerId="ADAL" clId="{EDABE23E-248D-4ED0-A77F-ADFCEC09D289}" dt="2024-05-27T11:13:02.284" v="5274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Lars Bockman" userId="5a235df0-e381-4c4c-99ce-24b4b21fb9d1" providerId="ADAL" clId="{EDABE23E-248D-4ED0-A77F-ADFCEC09D289}" dt="2024-06-03T08:52:24.354" v="7050" actId="20577"/>
          <ac:spMkLst>
            <pc:docMk/>
            <pc:sldMk cId="3809428704" sldId="268"/>
            <ac:spMk id="3" creationId="{8A3EFEB1-D7F7-A46E-7DED-AE462CEAB1A0}"/>
          </ac:spMkLst>
        </pc:spChg>
        <pc:spChg chg="add mod">
          <ac:chgData name="Lars Bockman" userId="5a235df0-e381-4c4c-99ce-24b4b21fb9d1" providerId="ADAL" clId="{EDABE23E-248D-4ED0-A77F-ADFCEC09D289}" dt="2024-06-03T08:50:51.461" v="6851" actId="20577"/>
          <ac:spMkLst>
            <pc:docMk/>
            <pc:sldMk cId="3809428704" sldId="268"/>
            <ac:spMk id="4" creationId="{EDE8794F-575C-3BB7-2A52-BE419AB5A1C1}"/>
          </ac:spMkLst>
        </pc:spChg>
      </pc:sldChg>
      <pc:sldChg chg="addSp delSp modSp mod">
        <pc:chgData name="Lars Bockman" userId="5a235df0-e381-4c4c-99ce-24b4b21fb9d1" providerId="ADAL" clId="{EDABE23E-248D-4ED0-A77F-ADFCEC09D289}" dt="2024-06-04T08:07:25.200" v="8913" actId="20577"/>
        <pc:sldMkLst>
          <pc:docMk/>
          <pc:sldMk cId="964345901" sldId="269"/>
        </pc:sldMkLst>
        <pc:spChg chg="add del mod modVis">
          <ac:chgData name="Lars Bockman" userId="5a235df0-e381-4c4c-99ce-24b4b21fb9d1" providerId="ADAL" clId="{EDABE23E-248D-4ED0-A77F-ADFCEC09D289}" dt="2024-06-04T08:04:16.044" v="8445"/>
          <ac:spMkLst>
            <pc:docMk/>
            <pc:sldMk cId="964345901" sldId="269"/>
            <ac:spMk id="6" creationId="{E4AA122A-1ADB-ACE3-C0A0-8B0E2DB811EC}"/>
          </ac:spMkLst>
        </pc:spChg>
        <pc:spChg chg="add del mod modVis">
          <ac:chgData name="Lars Bockman" userId="5a235df0-e381-4c4c-99ce-24b4b21fb9d1" providerId="ADAL" clId="{EDABE23E-248D-4ED0-A77F-ADFCEC09D289}" dt="2024-06-04T08:04:17.274" v="8475"/>
          <ac:spMkLst>
            <pc:docMk/>
            <pc:sldMk cId="964345901" sldId="269"/>
            <ac:spMk id="8" creationId="{7921233E-1745-27F3-EB66-8AB9AADBF919}"/>
          </ac:spMkLst>
        </pc:spChg>
        <pc:spChg chg="mod">
          <ac:chgData name="Lars Bockman" userId="5a235df0-e381-4c4c-99ce-24b4b21fb9d1" providerId="ADAL" clId="{EDABE23E-248D-4ED0-A77F-ADFCEC09D289}" dt="2024-06-04T08:04:17.259" v="8452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Bockman" userId="5a235df0-e381-4c4c-99ce-24b4b21fb9d1" providerId="ADAL" clId="{EDABE23E-248D-4ED0-A77F-ADFCEC09D289}" dt="2024-06-04T08:07:25.200" v="8913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Bockman" userId="5a235df0-e381-4c4c-99ce-24b4b21fb9d1" providerId="ADAL" clId="{EDABE23E-248D-4ED0-A77F-ADFCEC09D289}" dt="2024-06-04T08:04:17.274" v="8477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Bockman" userId="5a235df0-e381-4c4c-99ce-24b4b21fb9d1" providerId="ADAL" clId="{EDABE23E-248D-4ED0-A77F-ADFCEC09D289}" dt="2024-05-31T13:42:45.017" v="5357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Bockman" userId="5a235df0-e381-4c4c-99ce-24b4b21fb9d1" providerId="ADAL" clId="{EDABE23E-248D-4ED0-A77F-ADFCEC09D289}" dt="2024-06-04T07:25:30.392" v="7391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Bockman" userId="5a235df0-e381-4c4c-99ce-24b4b21fb9d1" providerId="ADAL" clId="{EDABE23E-248D-4ED0-A77F-ADFCEC09D289}" dt="2024-05-31T13:42:52.147" v="5359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addSp delSp modSp mod">
        <pc:chgData name="Lars Bockman" userId="5a235df0-e381-4c4c-99ce-24b4b21fb9d1" providerId="ADAL" clId="{EDABE23E-248D-4ED0-A77F-ADFCEC09D289}" dt="2024-06-04T08:10:24.938" v="9202"/>
        <pc:sldMkLst>
          <pc:docMk/>
          <pc:sldMk cId="4275014000" sldId="270"/>
        </pc:sldMkLst>
        <pc:spChg chg="add del mod modVis">
          <ac:chgData name="Lars Bockman" userId="5a235df0-e381-4c4c-99ce-24b4b21fb9d1" providerId="ADAL" clId="{EDABE23E-248D-4ED0-A77F-ADFCEC09D289}" dt="2024-06-04T08:10:24.932" v="9200"/>
          <ac:spMkLst>
            <pc:docMk/>
            <pc:sldMk cId="4275014000" sldId="270"/>
            <ac:spMk id="8" creationId="{2000083C-67F4-2F8F-C863-6489F3042630}"/>
          </ac:spMkLst>
        </pc:spChg>
        <pc:spChg chg="mod">
          <ac:chgData name="Lars Bockman" userId="5a235df0-e381-4c4c-99ce-24b4b21fb9d1" providerId="ADAL" clId="{EDABE23E-248D-4ED0-A77F-ADFCEC09D289}" dt="2024-06-04T08:10:24.904" v="9177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Bockman" userId="5a235df0-e381-4c4c-99ce-24b4b21fb9d1" providerId="ADAL" clId="{EDABE23E-248D-4ED0-A77F-ADFCEC09D289}" dt="2024-06-04T08:08:42.084" v="9173" actId="107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Bockman" userId="5a235df0-e381-4c4c-99ce-24b4b21fb9d1" providerId="ADAL" clId="{EDABE23E-248D-4ED0-A77F-ADFCEC09D289}" dt="2024-06-04T08:10:24.938" v="9202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Bockman" userId="5a235df0-e381-4c4c-99ce-24b4b21fb9d1" providerId="ADAL" clId="{EDABE23E-248D-4ED0-A77F-ADFCEC09D289}" dt="2024-05-31T13:42:58.616" v="5360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Bockman" userId="5a235df0-e381-4c4c-99ce-24b4b21fb9d1" providerId="ADAL" clId="{EDABE23E-248D-4ED0-A77F-ADFCEC09D289}" dt="2024-06-04T07:49:30.126" v="8049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Bockman" userId="5a235df0-e381-4c4c-99ce-24b4b21fb9d1" providerId="ADAL" clId="{EDABE23E-248D-4ED0-A77F-ADFCEC09D289}" dt="2024-05-31T13:43:03.202" v="5361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Bockman" userId="5a235df0-e381-4c4c-99ce-24b4b21fb9d1" providerId="ADAL" clId="{EDABE23E-248D-4ED0-A77F-ADFCEC09D289}" dt="2024-06-04T07:39:26.273" v="8046" actId="20577"/>
        <pc:sldMkLst>
          <pc:docMk/>
          <pc:sldMk cId="4169780862" sldId="274"/>
        </pc:sldMkLst>
        <pc:graphicFrameChg chg="modGraphic">
          <ac:chgData name="Lars Bockman" userId="5a235df0-e381-4c4c-99ce-24b4b21fb9d1" providerId="ADAL" clId="{EDABE23E-248D-4ED0-A77F-ADFCEC09D289}" dt="2024-06-04T07:37:16.945" v="7924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Graphic">
          <ac:chgData name="Lars Bockman" userId="5a235df0-e381-4c4c-99ce-24b4b21fb9d1" providerId="ADAL" clId="{EDABE23E-248D-4ED0-A77F-ADFCEC09D289}" dt="2024-06-04T07:39:26.273" v="8046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Graphic">
          <ac:chgData name="Lars Bockman" userId="5a235df0-e381-4c4c-99ce-24b4b21fb9d1" providerId="ADAL" clId="{EDABE23E-248D-4ED0-A77F-ADFCEC09D289}" dt="2024-06-04T07:34:17.021" v="7767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Bockman" userId="5a235df0-e381-4c4c-99ce-24b4b21fb9d1" providerId="ADAL" clId="{EDABE23E-248D-4ED0-A77F-ADFCEC09D289}" dt="2024-06-04T08:02:40.414" v="8190" actId="20577"/>
        <pc:sldMkLst>
          <pc:docMk/>
          <pc:sldMk cId="1400664593" sldId="275"/>
        </pc:sldMkLst>
        <pc:spChg chg="mod">
          <ac:chgData name="Lars Bockman" userId="5a235df0-e381-4c4c-99ce-24b4b21fb9d1" providerId="ADAL" clId="{EDABE23E-248D-4ED0-A77F-ADFCEC09D289}" dt="2024-06-04T08:02:40.414" v="8190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Bockman" userId="5a235df0-e381-4c4c-99ce-24b4b21fb9d1" providerId="ADAL" clId="{EDABE23E-248D-4ED0-A77F-ADFCEC09D289}" dt="2024-05-31T13:43:16.056" v="5362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Bockman" userId="5a235df0-e381-4c4c-99ce-24b4b21fb9d1" providerId="ADAL" clId="{EDABE23E-248D-4ED0-A77F-ADFCEC09D289}" dt="2024-06-04T07:46:56.832" v="8048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Bockman" userId="5a235df0-e381-4c4c-99ce-24b4b21fb9d1" providerId="ADAL" clId="{EDABE23E-248D-4ED0-A77F-ADFCEC09D289}" dt="2024-06-03T08:22:12.574" v="6097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Bockman" userId="5a235df0-e381-4c4c-99ce-24b4b21fb9d1" providerId="ADAL" clId="{EDABE23E-248D-4ED0-A77F-ADFCEC09D289}" dt="2024-06-03T08:22:16.317" v="6099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Bockman" userId="5a235df0-e381-4c4c-99ce-24b4b21fb9d1" providerId="ADAL" clId="{EDABE23E-248D-4ED0-A77F-ADFCEC09D289}" dt="2024-06-03T08:22:06.645" v="6095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Bockman" userId="5a235df0-e381-4c4c-99ce-24b4b21fb9d1" providerId="ADAL" clId="{EDABE23E-248D-4ED0-A77F-ADFCEC09D289}" dt="2024-06-03T08:22:09.461" v="6096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Bockman" userId="5a235df0-e381-4c4c-99ce-24b4b21fb9d1" providerId="ADAL" clId="{EDABE23E-248D-4ED0-A77F-ADFCEC09D289}" dt="2024-06-03T08:22:14.612" v="6098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delSp modSp del mod">
        <pc:chgData name="Lars Bockman" userId="5a235df0-e381-4c4c-99ce-24b4b21fb9d1" providerId="ADAL" clId="{EDABE23E-248D-4ED0-A77F-ADFCEC09D289}" dt="2024-06-04T08:03:38.248" v="8213" actId="47"/>
        <pc:sldMkLst>
          <pc:docMk/>
          <pc:sldMk cId="4123918659" sldId="276"/>
        </pc:sldMkLst>
        <pc:picChg chg="del mod">
          <ac:chgData name="Lars Bockman" userId="5a235df0-e381-4c4c-99ce-24b4b21fb9d1" providerId="ADAL" clId="{EDABE23E-248D-4ED0-A77F-ADFCEC09D289}" dt="2024-06-04T08:03:29.198" v="8210" actId="21"/>
          <ac:picMkLst>
            <pc:docMk/>
            <pc:sldMk cId="4123918659" sldId="276"/>
            <ac:picMk id="6" creationId="{E74EA589-72EA-AA47-0E44-BCAE8A4D908E}"/>
          </ac:picMkLst>
        </pc:picChg>
      </pc:sldChg>
      <pc:sldChg chg="addSp delSp modSp add mod ord">
        <pc:chgData name="Lars Bockman" userId="5a235df0-e381-4c4c-99ce-24b4b21fb9d1" providerId="ADAL" clId="{EDABE23E-248D-4ED0-A77F-ADFCEC09D289}" dt="2024-06-04T08:04:10.760" v="8414"/>
        <pc:sldMkLst>
          <pc:docMk/>
          <pc:sldMk cId="3048309862" sldId="277"/>
        </pc:sldMkLst>
        <pc:spChg chg="del">
          <ac:chgData name="Lars Bockman" userId="5a235df0-e381-4c4c-99ce-24b4b21fb9d1" providerId="ADAL" clId="{EDABE23E-248D-4ED0-A77F-ADFCEC09D289}" dt="2024-06-04T08:03:16.241" v="8194" actId="478"/>
          <ac:spMkLst>
            <pc:docMk/>
            <pc:sldMk cId="3048309862" sldId="277"/>
            <ac:spMk id="4" creationId="{BF121519-CDDC-1962-9CD6-6AAC2E69BFCB}"/>
          </ac:spMkLst>
        </pc:spChg>
        <pc:spChg chg="add del mod">
          <ac:chgData name="Lars Bockman" userId="5a235df0-e381-4c4c-99ce-24b4b21fb9d1" providerId="ADAL" clId="{EDABE23E-248D-4ED0-A77F-ADFCEC09D289}" dt="2024-06-04T08:03:24.030" v="8203" actId="478"/>
          <ac:spMkLst>
            <pc:docMk/>
            <pc:sldMk cId="3048309862" sldId="277"/>
            <ac:spMk id="6" creationId="{9EFE1326-0E46-4902-AC0A-89A919C1B2B9}"/>
          </ac:spMkLst>
        </pc:spChg>
        <pc:spChg chg="add del mod">
          <ac:chgData name="Lars Bockman" userId="5a235df0-e381-4c4c-99ce-24b4b21fb9d1" providerId="ADAL" clId="{EDABE23E-248D-4ED0-A77F-ADFCEC09D289}" dt="2024-06-04T08:03:25.155" v="8208" actId="478"/>
          <ac:spMkLst>
            <pc:docMk/>
            <pc:sldMk cId="3048309862" sldId="277"/>
            <ac:spMk id="8" creationId="{CA84B9E3-16A7-8048-E96C-0D723C602883}"/>
          </ac:spMkLst>
        </pc:spChg>
        <pc:spChg chg="del">
          <ac:chgData name="Lars Bockman" userId="5a235df0-e381-4c4c-99ce-24b4b21fb9d1" providerId="ADAL" clId="{EDABE23E-248D-4ED0-A77F-ADFCEC09D289}" dt="2024-06-04T08:03:22.665" v="8202" actId="478"/>
          <ac:spMkLst>
            <pc:docMk/>
            <pc:sldMk cId="3048309862" sldId="277"/>
            <ac:spMk id="13" creationId="{D3816D81-2F0C-5C31-0215-8B391B6646ED}"/>
          </ac:spMkLst>
        </pc:spChg>
        <pc:spChg chg="add del mod">
          <ac:chgData name="Lars Bockman" userId="5a235df0-e381-4c4c-99ce-24b4b21fb9d1" providerId="ADAL" clId="{EDABE23E-248D-4ED0-A77F-ADFCEC09D289}" dt="2024-06-04T08:03:20.307" v="8201" actId="478"/>
          <ac:spMkLst>
            <pc:docMk/>
            <pc:sldMk cId="3048309862" sldId="277"/>
            <ac:spMk id="14" creationId="{8AF43122-087E-9C87-97EB-DB4E2CD964EA}"/>
          </ac:spMkLst>
        </pc:spChg>
        <pc:spChg chg="add mod">
          <ac:chgData name="Lars Bockman" userId="5a235df0-e381-4c4c-99ce-24b4b21fb9d1" providerId="ADAL" clId="{EDABE23E-248D-4ED0-A77F-ADFCEC09D289}" dt="2024-06-04T08:04:10.744" v="8389" actId="948"/>
          <ac:spMkLst>
            <pc:docMk/>
            <pc:sldMk cId="3048309862" sldId="277"/>
            <ac:spMk id="16" creationId="{05F1EE16-5CB9-787E-C19C-5D8FCB48A64F}"/>
          </ac:spMkLst>
        </pc:spChg>
        <pc:spChg chg="add del mod modVis">
          <ac:chgData name="Lars Bockman" userId="5a235df0-e381-4c4c-99ce-24b4b21fb9d1" providerId="ADAL" clId="{EDABE23E-248D-4ED0-A77F-ADFCEC09D289}" dt="2024-06-04T08:03:58.707" v="8240"/>
          <ac:spMkLst>
            <pc:docMk/>
            <pc:sldMk cId="3048309862" sldId="277"/>
            <ac:spMk id="17" creationId="{1B40BD5E-91AC-0917-8991-9E4409B430A2}"/>
          </ac:spMkLst>
        </pc:spChg>
        <pc:spChg chg="add del mod modVis">
          <ac:chgData name="Lars Bockman" userId="5a235df0-e381-4c4c-99ce-24b4b21fb9d1" providerId="ADAL" clId="{EDABE23E-248D-4ED0-A77F-ADFCEC09D289}" dt="2024-06-04T08:04:01.082" v="8269"/>
          <ac:spMkLst>
            <pc:docMk/>
            <pc:sldMk cId="3048309862" sldId="277"/>
            <ac:spMk id="18" creationId="{C14F9704-952E-B412-D901-F625E0D1D6DD}"/>
          </ac:spMkLst>
        </pc:spChg>
        <pc:spChg chg="add del mod modVis">
          <ac:chgData name="Lars Bockman" userId="5a235df0-e381-4c4c-99ce-24b4b21fb9d1" providerId="ADAL" clId="{EDABE23E-248D-4ED0-A77F-ADFCEC09D289}" dt="2024-06-04T08:04:04.076" v="8307"/>
          <ac:spMkLst>
            <pc:docMk/>
            <pc:sldMk cId="3048309862" sldId="277"/>
            <ac:spMk id="19" creationId="{4DE6D07C-FBDF-6E3F-462B-4F748A57B11B}"/>
          </ac:spMkLst>
        </pc:spChg>
        <pc:spChg chg="add del mod modVis">
          <ac:chgData name="Lars Bockman" userId="5a235df0-e381-4c4c-99ce-24b4b21fb9d1" providerId="ADAL" clId="{EDABE23E-248D-4ED0-A77F-ADFCEC09D289}" dt="2024-06-04T08:04:06.938" v="8347"/>
          <ac:spMkLst>
            <pc:docMk/>
            <pc:sldMk cId="3048309862" sldId="277"/>
            <ac:spMk id="20" creationId="{3F187B90-92B8-A474-347E-CC35E538ABBC}"/>
          </ac:spMkLst>
        </pc:spChg>
        <pc:spChg chg="add del mod modVis">
          <ac:chgData name="Lars Bockman" userId="5a235df0-e381-4c4c-99ce-24b4b21fb9d1" providerId="ADAL" clId="{EDABE23E-248D-4ED0-A77F-ADFCEC09D289}" dt="2024-06-04T08:04:08.807" v="8385"/>
          <ac:spMkLst>
            <pc:docMk/>
            <pc:sldMk cId="3048309862" sldId="277"/>
            <ac:spMk id="21" creationId="{B5AF90B0-73EE-53C6-EFB5-29A9436B05B2}"/>
          </ac:spMkLst>
        </pc:spChg>
        <pc:spChg chg="add del mod modVis">
          <ac:chgData name="Lars Bockman" userId="5a235df0-e381-4c4c-99ce-24b4b21fb9d1" providerId="ADAL" clId="{EDABE23E-248D-4ED0-A77F-ADFCEC09D289}" dt="2024-06-04T08:04:10.760" v="8412"/>
          <ac:spMkLst>
            <pc:docMk/>
            <pc:sldMk cId="3048309862" sldId="277"/>
            <ac:spMk id="22" creationId="{159174E2-80B3-3A4D-E917-76B7FCFB35EB}"/>
          </ac:spMkLst>
        </pc:spChg>
        <pc:graphicFrameChg chg="mod">
          <ac:chgData name="Lars Bockman" userId="5a235df0-e381-4c4c-99ce-24b4b21fb9d1" providerId="ADAL" clId="{EDABE23E-248D-4ED0-A77F-ADFCEC09D289}" dt="2024-06-04T08:04:10.760" v="8414"/>
          <ac:graphicFrameMkLst>
            <pc:docMk/>
            <pc:sldMk cId="3048309862" sldId="277"/>
            <ac:graphicFrameMk id="9" creationId="{8E601A1A-2629-9E12-9DFE-9BDAC856ED65}"/>
          </ac:graphicFrameMkLst>
        </pc:graphicFrameChg>
        <pc:picChg chg="del">
          <ac:chgData name="Lars Bockman" userId="5a235df0-e381-4c4c-99ce-24b4b21fb9d1" providerId="ADAL" clId="{EDABE23E-248D-4ED0-A77F-ADFCEC09D289}" dt="2024-06-04T08:03:17.745" v="8199" actId="478"/>
          <ac:picMkLst>
            <pc:docMk/>
            <pc:sldMk cId="3048309862" sldId="277"/>
            <ac:picMk id="10" creationId="{EDD2A1DB-03B4-A540-E2CF-68A1C96AF138}"/>
          </ac:picMkLst>
        </pc:picChg>
        <pc:picChg chg="del">
          <ac:chgData name="Lars Bockman" userId="5a235df0-e381-4c4c-99ce-24b4b21fb9d1" providerId="ADAL" clId="{EDABE23E-248D-4ED0-A77F-ADFCEC09D289}" dt="2024-06-04T08:03:18.393" v="8200" actId="478"/>
          <ac:picMkLst>
            <pc:docMk/>
            <pc:sldMk cId="3048309862" sldId="277"/>
            <ac:picMk id="12" creationId="{475A88D7-D294-62B2-8755-82110AB84DD1}"/>
          </ac:picMkLst>
        </pc:picChg>
        <pc:picChg chg="add mod">
          <ac:chgData name="Lars Bockman" userId="5a235df0-e381-4c4c-99ce-24b4b21fb9d1" providerId="ADAL" clId="{EDABE23E-248D-4ED0-A77F-ADFCEC09D289}" dt="2024-06-04T08:03:41.678" v="8214" actId="14100"/>
          <ac:picMkLst>
            <pc:docMk/>
            <pc:sldMk cId="3048309862" sldId="277"/>
            <ac:picMk id="15" creationId="{E74EA589-72EA-AA47-0E44-BCAE8A4D908E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26" creationId="{A3000F04-E780-98BA-A9F5-FBB1AD330F20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28" creationId="{7BD95610-1C21-5E69-CD9D-A797BAA38B11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0" creationId="{ACF3AF7C-A2DE-81CC-E858-516CB40827CE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2" creationId="{8EF0B950-C72C-D5A3-948A-06A2609A5B96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B4E5B0F8-0B27-4C7F-AC1B-93663567327F}"/>
    <pc:docChg chg="modSld">
      <pc:chgData name="Iselin Ekeli Rønningsbakk" userId="187300ae-9cb6-416d-8a94-664ca977a24d" providerId="ADAL" clId="{B4E5B0F8-0B27-4C7F-AC1B-93663567327F}" dt="2024-04-12T09:21:55.420" v="1301"/>
      <pc:docMkLst>
        <pc:docMk/>
      </pc:docMkLst>
      <pc:sldChg chg="modSp mod modCm">
        <pc:chgData name="Iselin Ekeli Rønningsbakk" userId="187300ae-9cb6-416d-8a94-664ca977a24d" providerId="ADAL" clId="{B4E5B0F8-0B27-4C7F-AC1B-93663567327F}" dt="2024-04-12T09:18:23.655" v="1124" actId="14100"/>
        <pc:sldMkLst>
          <pc:docMk/>
          <pc:sldMk cId="964345901" sldId="269"/>
        </pc:sldMkLst>
        <pc:spChg chg="mod">
          <ac:chgData name="Iselin Ekeli Rønningsbakk" userId="187300ae-9cb6-416d-8a94-664ca977a24d" providerId="ADAL" clId="{B4E5B0F8-0B27-4C7F-AC1B-93663567327F}" dt="2024-04-12T09:18:23.655" v="1124" actId="14100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B4E5B0F8-0B27-4C7F-AC1B-93663567327F}" dt="2024-04-12T09:18:13.939" v="1123" actId="6549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Iselin Ekeli Rønningsbakk" userId="187300ae-9cb6-416d-8a94-664ca977a24d" providerId="ADAL" clId="{B4E5B0F8-0B27-4C7F-AC1B-93663567327F}" dt="2024-04-12T09:21:09.545" v="1287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B4E5B0F8-0B27-4C7F-AC1B-93663567327F}" dt="2024-04-12T09:21:09.545" v="1287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 delCm modCm">
        <pc:chgData name="Iselin Ekeli Rønningsbakk" userId="187300ae-9cb6-416d-8a94-664ca977a24d" providerId="ADAL" clId="{B4E5B0F8-0B27-4C7F-AC1B-93663567327F}" dt="2024-04-12T09:21:55.420" v="1301"/>
        <pc:sldMkLst>
          <pc:docMk/>
          <pc:sldMk cId="1400664593" sldId="275"/>
        </pc:sldMkLst>
        <pc:spChg chg="mod">
          <ac:chgData name="Iselin Ekeli Rønningsbakk" userId="187300ae-9cb6-416d-8a94-664ca977a24d" providerId="ADAL" clId="{B4E5B0F8-0B27-4C7F-AC1B-93663567327F}" dt="2024-04-12T09:21:48.592" v="1299" actId="6549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Iselin Ekeli Rønningsbakk" userId="187300ae-9cb6-416d-8a94-664ca977a24d" providerId="ADAL" clId="{B4E5B0F8-0B27-4C7F-AC1B-93663567327F}" dt="2024-04-12T09:21:55.420" v="1301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A982F088-28B0-44E7-A540-057AB14E26F1}"/>
    <pc:docChg chg="">
      <pc:chgData name="Iselin Ekeli Rønningsbakk" userId="187300ae-9cb6-416d-8a94-664ca977a24d" providerId="ADAL" clId="{A982F088-28B0-44E7-A540-057AB14E26F1}" dt="2024-05-13T09:04:11.853" v="0"/>
      <pc:docMkLst>
        <pc:docMk/>
      </pc:docMkLst>
      <pc:sldChg chg="modCm">
        <pc:chgData name="Iselin Ekeli Rønningsbakk" userId="187300ae-9cb6-416d-8a94-664ca977a24d" providerId="ADAL" clId="{A982F088-28B0-44E7-A540-057AB14E26F1}" dt="2024-05-13T09:04:11.853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Iselin Ekeli Rønningsbakk" userId="187300ae-9cb6-416d-8a94-664ca977a24d" providerId="ADAL" clId="{A982F088-28B0-44E7-A540-057AB14E26F1}" dt="2024-05-13T09:04:11.853" v="0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83B02544-0F5E-4C44-B18B-AC7E10D8800E}"/>
    <pc:docChg chg="undo custSel modSld replTag">
      <pc:chgData name="Lars Tennbakk Bockman" userId="5a235df0-e381-4c4c-99ce-24b4b21fb9d1" providerId="ADAL" clId="{83B02544-0F5E-4C44-B18B-AC7E10D8800E}" dt="2024-04-04T08:15:12.655" v="2738" actId="13926"/>
      <pc:docMkLst>
        <pc:docMk/>
      </pc:docMkLst>
      <pc:sldChg chg="modSp mod delCm">
        <pc:chgData name="Lars Tennbakk Bockman" userId="5a235df0-e381-4c4c-99ce-24b4b21fb9d1" providerId="ADAL" clId="{83B02544-0F5E-4C44-B18B-AC7E10D8800E}" dt="2024-04-04T08:15:12.655" v="2738" actId="13926"/>
        <pc:sldMkLst>
          <pc:docMk/>
          <pc:sldMk cId="4148148830" sldId="259"/>
        </pc:sldMkLst>
        <pc:spChg chg="mod">
          <ac:chgData name="Lars Tennbakk Bockman" userId="5a235df0-e381-4c4c-99ce-24b4b21fb9d1" providerId="ADAL" clId="{83B02544-0F5E-4C44-B18B-AC7E10D8800E}" dt="2024-04-04T08:15:12.655" v="2738" actId="13926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9:57.781" v="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13:41:21.370" v="2735" actId="1076"/>
        <pc:sldMkLst>
          <pc:docMk/>
          <pc:sldMk cId="3149972175" sldId="261"/>
        </pc:sldMkLst>
        <pc:spChg chg="mod">
          <ac:chgData name="Lars Tennbakk Bockman" userId="5a235df0-e381-4c4c-99ce-24b4b21fb9d1" providerId="ADAL" clId="{83B02544-0F5E-4C44-B18B-AC7E10D8800E}" dt="2024-04-03T13:38:57.537" v="2720" actId="20577"/>
          <ac:spMkLst>
            <pc:docMk/>
            <pc:sldMk cId="3149972175" sldId="261"/>
            <ac:spMk id="15" creationId="{71CD328A-FCBF-98DB-A3A2-36A13A7E9980}"/>
          </ac:spMkLst>
        </pc:spChg>
        <pc:picChg chg="add del mod">
          <ac:chgData name="Lars Tennbakk Bockman" userId="5a235df0-e381-4c4c-99ce-24b4b21fb9d1" providerId="ADAL" clId="{83B02544-0F5E-4C44-B18B-AC7E10D8800E}" dt="2024-04-03T13:40:13.300" v="2726" actId="478"/>
          <ac:picMkLst>
            <pc:docMk/>
            <pc:sldMk cId="3149972175" sldId="261"/>
            <ac:picMk id="4" creationId="{34A9B103-504B-3B89-677B-A43F0D78BCFE}"/>
          </ac:picMkLst>
        </pc:picChg>
        <pc:picChg chg="mod">
          <ac:chgData name="Lars Tennbakk Bockman" userId="5a235df0-e381-4c4c-99ce-24b4b21fb9d1" providerId="ADAL" clId="{83B02544-0F5E-4C44-B18B-AC7E10D8800E}" dt="2024-04-03T13:41:15.116" v="2732" actId="1076"/>
          <ac:picMkLst>
            <pc:docMk/>
            <pc:sldMk cId="3149972175" sldId="261"/>
            <ac:picMk id="9" creationId="{44CEDB3C-E57F-F323-62AD-0E388B9FAAD8}"/>
          </ac:picMkLst>
        </pc:picChg>
        <pc:picChg chg="add mod">
          <ac:chgData name="Lars Tennbakk Bockman" userId="5a235df0-e381-4c4c-99ce-24b4b21fb9d1" providerId="ADAL" clId="{83B02544-0F5E-4C44-B18B-AC7E10D8800E}" dt="2024-04-03T13:41:21.370" v="2735" actId="1076"/>
          <ac:picMkLst>
            <pc:docMk/>
            <pc:sldMk cId="3149972175" sldId="261"/>
            <ac:picMk id="10" creationId="{607CFFAC-59AF-1273-0123-E7F3000E72DF}"/>
          </ac:picMkLst>
        </pc:picChg>
      </pc:sldChg>
      <pc:sldChg chg="modSp mod">
        <pc:chgData name="Lars Tennbakk Bockman" userId="5a235df0-e381-4c4c-99ce-24b4b21fb9d1" providerId="ADAL" clId="{83B02544-0F5E-4C44-B18B-AC7E10D8800E}" dt="2024-04-04T08:15:03.520" v="2737" actId="13926"/>
        <pc:sldMkLst>
          <pc:docMk/>
          <pc:sldMk cId="3809428704" sldId="268"/>
        </pc:sldMkLst>
        <pc:spChg chg="mod">
          <ac:chgData name="Lars Tennbakk Bockman" userId="5a235df0-e381-4c4c-99ce-24b4b21fb9d1" providerId="ADAL" clId="{83B02544-0F5E-4C44-B18B-AC7E10D8800E}" dt="2024-04-03T13:01:29.054" v="2459" actId="313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83B02544-0F5E-4C44-B18B-AC7E10D8800E}" dt="2024-04-04T08:15:03.520" v="2737" actId="13926"/>
          <ac:spMkLst>
            <pc:docMk/>
            <pc:sldMk cId="3809428704" sldId="268"/>
            <ac:spMk id="4" creationId="{D1901E2F-AFF3-2F50-C7AA-0E8DFCDE0BD5}"/>
          </ac:spMkLst>
        </pc:spChg>
      </pc:sldChg>
      <pc:sldChg chg="addSp delSp modSp mod delCm">
        <pc:chgData name="Lars Tennbakk Bockman" userId="5a235df0-e381-4c4c-99ce-24b4b21fb9d1" providerId="ADAL" clId="{83B02544-0F5E-4C44-B18B-AC7E10D8800E}" dt="2024-04-03T09:02:11.125" v="958" actId="20577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83B02544-0F5E-4C44-B18B-AC7E10D8800E}" dt="2024-04-03T08:51:36.224" v="52"/>
          <ac:spMkLst>
            <pc:docMk/>
            <pc:sldMk cId="964345901" sldId="269"/>
            <ac:spMk id="6" creationId="{57649461-4C72-D0CD-4871-65271E2C477A}"/>
          </ac:spMkLst>
        </pc:spChg>
        <pc:spChg chg="add del mod modVis">
          <ac:chgData name="Lars Tennbakk Bockman" userId="5a235df0-e381-4c4c-99ce-24b4b21fb9d1" providerId="ADAL" clId="{83B02544-0F5E-4C44-B18B-AC7E10D8800E}" dt="2024-04-03T08:51:37.020" v="79"/>
          <ac:spMkLst>
            <pc:docMk/>
            <pc:sldMk cId="964345901" sldId="269"/>
            <ac:spMk id="8" creationId="{119F34B7-E81D-6BCF-E614-8BAABC1784A7}"/>
          </ac:spMkLst>
        </pc:spChg>
        <pc:spChg chg="mod">
          <ac:chgData name="Lars Tennbakk Bockman" userId="5a235df0-e381-4c4c-99ce-24b4b21fb9d1" providerId="ADAL" clId="{83B02544-0F5E-4C44-B18B-AC7E10D8800E}" dt="2024-04-03T08:51:36.988" v="56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2:11.125" v="95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83B02544-0F5E-4C44-B18B-AC7E10D8800E}" dt="2024-04-03T08:51:37.020" v="81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83B02544-0F5E-4C44-B18B-AC7E10D8800E}" dt="2024-04-03T08:39:44.159" v="1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83B02544-0F5E-4C44-B18B-AC7E10D8800E}" dt="2024-04-03T08:42:16.416" v="4" actId="1482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4:17.590" v="7"/>
              <pc2:cmMkLst xmlns:pc2="http://schemas.microsoft.com/office/powerpoint/2019/9/main/command">
                <pc:docMk/>
                <pc:sldMk cId="964345901" sldId="269"/>
                <pc2:cmMk id="{36AD1E02-777A-4674-915A-35C4F571E648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09:04:38.135" v="1105" actId="13926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83B02544-0F5E-4C44-B18B-AC7E10D8800E}" dt="2024-04-03T08:51:40.335" v="109"/>
          <ac:spMkLst>
            <pc:docMk/>
            <pc:sldMk cId="4275014000" sldId="270"/>
            <ac:spMk id="8" creationId="{2FDB3323-3FD3-E503-5B34-0011550307F3}"/>
          </ac:spMkLst>
        </pc:spChg>
        <pc:spChg chg="mod">
          <ac:chgData name="Lars Tennbakk Bockman" userId="5a235df0-e381-4c4c-99ce-24b4b21fb9d1" providerId="ADAL" clId="{83B02544-0F5E-4C44-B18B-AC7E10D8800E}" dt="2024-04-03T08:51:40.322" v="86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4:38.135" v="1105" actId="1392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83B02544-0F5E-4C44-B18B-AC7E10D8800E}" dt="2024-04-03T08:51:40.335" v="111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83B02544-0F5E-4C44-B18B-AC7E10D8800E}" dt="2024-04-03T08:42:23.531" v="5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83B02544-0F5E-4C44-B18B-AC7E10D8800E}" dt="2024-04-03T08:44:00.554" v="6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83B02544-0F5E-4C44-B18B-AC7E10D8800E}" dt="2024-04-03T12:49:44.363" v="1119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83B02544-0F5E-4C44-B18B-AC7E10D8800E}" dt="2024-04-03T12:49:44.363" v="1119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83B02544-0F5E-4C44-B18B-AC7E10D8800E}" dt="2024-04-03T08:49:46.593" v="8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83B02544-0F5E-4C44-B18B-AC7E10D8800E}" dt="2024-04-03T12:48:48.871" v="1112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83B02544-0F5E-4C44-B18B-AC7E10D8800E}" dt="2024-04-03T12:49:14.136" v="1115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83B02544-0F5E-4C44-B18B-AC7E10D8800E}" dt="2024-04-03T12:49:20.726" v="1116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83B02544-0F5E-4C44-B18B-AC7E10D8800E}" dt="2024-04-03T12:49:10.609" v="1113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83B02544-0F5E-4C44-B18B-AC7E10D8800E}" dt="2024-04-03T12:49:12.576" v="1114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83B02544-0F5E-4C44-B18B-AC7E10D8800E}" dt="2024-04-03T12:49:23.088" v="1117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EE21E6D1-581B-48DE-BEF9-DE59C28260FD}"/>
    <pc:docChg chg="">
      <pc:chgData name="Iselin Ekeli Rønningsbakk" userId="187300ae-9cb6-416d-8a94-664ca977a24d" providerId="ADAL" clId="{EE21E6D1-581B-48DE-BEF9-DE59C28260FD}" dt="2024-05-16T07:00:05.547" v="0"/>
      <pc:docMkLst>
        <pc:docMk/>
      </pc:docMkLst>
      <pc:sldChg chg="delCm">
        <pc:chgData name="Iselin Ekeli Rønningsbakk" userId="187300ae-9cb6-416d-8a94-664ca977a24d" providerId="ADAL" clId="{EE21E6D1-581B-48DE-BEF9-DE59C28260FD}" dt="2024-05-16T07:00:05.547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EE21E6D1-581B-48DE-BEF9-DE59C28260FD}" dt="2024-05-16T07:00:05.547" v="0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11.06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2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>
                <a:latin typeface="+mj-lt"/>
                <a:ea typeface="+mj-ea"/>
                <a:cs typeface="+mj-cs"/>
              </a:rPr>
              <a:t>Strømprisindeksen </a:t>
            </a:r>
            <a:r>
              <a:rPr lang="nb-NO"/>
              <a:t>mai 2024</a:t>
            </a:r>
            <a:endParaRPr lang="nb-NO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457257" y="2081047"/>
            <a:ext cx="3702960" cy="2148053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rmAutofit fontScale="92500"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prisene falt betraktelig i mai. I Sørvest-Norge har ikke prisene vært så lave på tre år - siden april 2021. I resten av landet har prisene ikke vært så lave siden september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Nord- og Midt-Norge ble strømprisene mer enn halvert sammenliknet med måneden før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de sørlige prisområdene fikk vi de laveste </a:t>
            </a:r>
            <a:r>
              <a:rPr lang="nb-NO" sz="800" err="1"/>
              <a:t>maiprisene</a:t>
            </a:r>
            <a:r>
              <a:rPr lang="nb-NO" sz="800"/>
              <a:t> siden 2020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 lavere strømprisene i mai skyldtes at høye temperaturer over hele landet førte til stor snøsmelting og dermed også til at tilsigene til vannkraftverkene økte kraftig. 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t oppsto prisforskjeller mellom Sørvest-Norge og Øst- og Vestlandet i mai. Dette kommer av stor elvekraftproduksjon på Østlandet og høy produksjon i Sverige, samt begrenset overføringskapasitet inn i Sørlandet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Mai ble en svært varm måned. Over hele landet viste gradestokken temperaturer flere grader over normalen. I Bergen var det i mai hele 6 grader varmere enn normalt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ingen av de norske prisområdene var månedsprisene høye nok i mai til å nå terskelen for strømstøtte. Det ble likevel utbetalt strømstøtte for enkelte timer. </a:t>
            </a:r>
            <a:endParaRPr lang="nb-NO" sz="800">
              <a:cs typeface="Arial"/>
            </a:endParaRP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10" name="Bilde 9" descr="Et bilde som inneholder tekst, skjermbilde, kart, Font&#10;&#10;Automatisk generert beskrivelse">
            <a:extLst>
              <a:ext uri="{FF2B5EF4-FFF2-40B4-BE49-F238E27FC236}">
                <a16:creationId xmlns:a16="http://schemas.microsoft.com/office/drawing/2014/main" id="{916CE268-1055-5179-8138-AC5C453714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554" y="-7496"/>
            <a:ext cx="4661941" cy="467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10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Regnestykket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13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276847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april-mai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150018" y="729687"/>
            <a:ext cx="5083897" cy="7848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prisene falt kraftig over hele Norge i mai, og ble mer enn halvert i Nord- og Midt-Nor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Også forbruket falt betraktelig over hele landet, som en følge av svært høye temperaturer. I de sørlige prisområdene var det 4-6 grader varmere enn normal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Regningene ble langt lavere over hele Norge. I Midt-Norge ble strømregningene mer enn halvert.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48D81E10-A362-0BE0-5A29-09482A073F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790" y="1725917"/>
            <a:ext cx="2102332" cy="282119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0330" y="1262449"/>
            <a:ext cx="4196262" cy="31471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73754" y="1722518"/>
            <a:ext cx="2112476" cy="282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36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mai 2023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6" y="1269083"/>
            <a:ext cx="4230178" cy="31726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6693" y="1582884"/>
            <a:ext cx="2172433" cy="29152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42530" y="1579372"/>
            <a:ext cx="2177668" cy="2922289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228272" y="826889"/>
            <a:ext cx="47608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de sørlige prisområdene har strømprisene halvert seg siden i fjor, og prisene har også falt betraktelig i Midt-Nor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Nord-Norge var strømprisene i mai på samme nivå som i mai i fjo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alle prisområdene var strømforbruket i mai lavere enn i samme måned i fjor. Den største nedgangen var i Midt-Norge og Sørvest-Norge, der strømforbruket var ned over 20 prosent. 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508" y="701624"/>
            <a:ext cx="292083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57350"/>
            <a:ext cx="2718251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mai har vi hatt nettoimport av strøm fra Sverige, og nettoeksport til Nederland, Tyskland, Danmark og Storbritan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Prisene i Europa var langt høyere enn i Norge i ma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Vi hadde spesielt høy eksport i mai pga lave priser i Norge som følge av snøsmelting og høye temperatur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nesten 2 TWh med strøm i april.</a:t>
            </a: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623" y="2769092"/>
            <a:ext cx="4028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595" y="3073892"/>
            <a:ext cx="416984" cy="348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63" y="2781996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19" y="2756240"/>
            <a:ext cx="416983" cy="3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4371" y="2769092"/>
            <a:ext cx="39237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83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april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82091" y="974471"/>
            <a:ext cx="4000459" cy="326082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Snøsmelting gir svært lave priser i Norden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Etter en kald vinter med mye nedbør var det store mengder snø i fjellet. Den raske temperaturøkningen i mai har ført til at mye av dette har smeltet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Mye av vannkraften i Norge og Sverige </a:t>
            </a:r>
            <a:r>
              <a:rPr lang="nb-NO" sz="1000" kern="100">
                <a:ea typeface="Calibri"/>
                <a:cs typeface="Arial"/>
              </a:rPr>
              <a:t>er elvekraftverk (ingen magasin) eller har små magasiner slik at mye av vannet ikke kan lagres. </a:t>
            </a:r>
            <a:r>
              <a:rPr lang="nb-NO" sz="1000" kern="100">
                <a:effectLst/>
                <a:ea typeface="Calibri"/>
                <a:cs typeface="Arial"/>
              </a:rPr>
              <a:t>Da kan man få perioder med svært høy «tvungen» produksjon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Samtidig faller forbruket på denne tiden av året pga. høyere temperaturer. I år var mai særlig varmt. Bergen hadde temperaturer 6 grader høyere enn vanlig. Oslo, Trondheim og Stavanger hadde temperaturer rundt 5 grader over normale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Den store mengden snøsmelting og de høye temperaturene har gitt svært lave priser i Norden. I Sør-Norge har ikke prisen vært lavere siden rekordåret 2020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Også Sverige og Finland hadde svært lave strømpriser i mai.</a:t>
            </a:r>
            <a:endParaRPr lang="nb-NO" sz="1000" kern="100">
              <a:effectLst/>
              <a:ea typeface="Calibri"/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DE8794F-575C-3BB7-2A52-BE419AB5A1C1}"/>
              </a:ext>
            </a:extLst>
          </p:cNvPr>
          <p:cNvSpPr txBox="1"/>
          <p:nvPr/>
        </p:nvSpPr>
        <p:spPr>
          <a:xfrm>
            <a:off x="4440748" y="974471"/>
            <a:ext cx="4334861" cy="369274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Prisforskjeller mellom Sør-Norge og Øst- og Vestlandet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I mai har det for første gang i år oppstått prisforskjeller mellom NO2 (Sør-Norge) og de andre sørlige prisområdene. Mai-prisen var omtrent 10 øre høyere i NO2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Prisforskjeller på sommeren mellom NO2 og de andre prisområdene har ikke vært uvanlig tidligere. </a:t>
            </a:r>
            <a:r>
              <a:rPr lang="nb-NO" sz="1000" kern="100">
                <a:effectLst/>
                <a:ea typeface="Calibri"/>
                <a:cs typeface="Arial"/>
              </a:rPr>
              <a:t>Dette kommer av at </a:t>
            </a:r>
            <a:r>
              <a:rPr lang="nb-NO" sz="1000" kern="100">
                <a:ea typeface="Calibri"/>
                <a:cs typeface="Arial"/>
              </a:rPr>
              <a:t>overføringskapasiteten fra NO2 til NO1 er sterkere enn vice versa. I tillegg svekkes overføringskapasiteten på sommeren som følge av varme kabl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I tillegg har NO1 mye elvekraft, som må produsere når det er vann i vassdraget. NO2 har større magasiner som kan spare på vannet til perioder med høyere pris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Sverige hadde også svært lave strømpriser i mai, og disse bidro til å dra ned prisene i NO1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Statnett </a:t>
            </a:r>
            <a:r>
              <a:rPr lang="nb-NO" sz="1000" kern="100">
                <a:ea typeface="Calibri"/>
                <a:cs typeface="Arial"/>
              </a:rPr>
              <a:t>har innført tiltak for å redusere prisforskjellene i år. Bl.a. har de oppgradert enkelte linjer i strømnettet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Det er van</a:t>
            </a:r>
            <a:r>
              <a:rPr lang="nb-NO" sz="1000" kern="100">
                <a:ea typeface="Calibri"/>
                <a:cs typeface="Arial"/>
              </a:rPr>
              <a:t>skelig å spå hvordan prisene vil utvikle seg, men prisforskjellene vil sannsynligvis ikke nå samme nivå som i fjor.</a:t>
            </a: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57FE68-9AD6-C6A4-DF08-975433BC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viklingen fremo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02D30A-3FAE-781C-EE25-B4A797F38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6" y="1806206"/>
            <a:ext cx="4030400" cy="2737307"/>
          </a:xfr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endParaRPr lang="nb-NO" sz="1000">
              <a:cs typeface="Arial"/>
            </a:endParaRPr>
          </a:p>
          <a:p>
            <a:pPr lvl="1"/>
            <a:endParaRPr lang="nb-NO"/>
          </a:p>
          <a:p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69DBE61-8E0F-73A1-15C4-6F6A9221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333035-272F-954D-1DE2-3EA90053F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B670F3-F503-EDCF-4447-49EB9200B55E}"/>
              </a:ext>
            </a:extLst>
          </p:cNvPr>
          <p:cNvSpPr txBox="1"/>
          <p:nvPr/>
        </p:nvSpPr>
        <p:spPr>
          <a:xfrm>
            <a:off x="458782" y="1646322"/>
            <a:ext cx="6462625" cy="14927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Markedet forventer at strømprisene vil øke litt utover sommeren og høst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Til vinteren forventer det priser om lag på samme nivå som forrige vin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Stor snøsmelting har ført til en betraktelig forbedret magasinsituasjon. Det er nå mer vann enn normalt for årstiden i norske magasin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I Nord-Norge er det imidlertid en svært stram magasinsituasjon, til og med etter snøsmelting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3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4814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7423" y="426320"/>
            <a:ext cx="5777094" cy="494406"/>
          </a:xfrm>
        </p:spPr>
        <p:txBody>
          <a:bodyPr vert="horz"/>
          <a:lstStyle/>
          <a:p>
            <a:r>
              <a:rPr lang="nb-NO">
                <a:cs typeface="Arial"/>
              </a:rPr>
              <a:t>Vedlegg 1: Detaljert regning for mai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5848"/>
              <a:gd name="adj2" fmla="val 28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7674"/>
              <a:gd name="adj2" fmla="val 1425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49362" y="3324599"/>
            <a:ext cx="1566518" cy="529670"/>
          </a:xfrm>
          <a:prstGeom prst="wedgeRectCallout">
            <a:avLst>
              <a:gd name="adj1" fmla="val -72215"/>
              <a:gd name="adj2" fmla="val 542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64127"/>
              <a:gd name="adj2" fmla="val -5231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49362" y="3897260"/>
            <a:ext cx="1631164" cy="338904"/>
          </a:xfrm>
          <a:prstGeom prst="wedgeRectCallout">
            <a:avLst>
              <a:gd name="adj1" fmla="val -71510"/>
              <a:gd name="adj2" fmla="val -1483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131A36CF-B9F9-5E74-5113-847B2A062B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940873"/>
              </p:ext>
            </p:extLst>
          </p:nvPr>
        </p:nvGraphicFramePr>
        <p:xfrm>
          <a:off x="429298" y="920726"/>
          <a:ext cx="6617677" cy="3624975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1853572">
                  <a:extLst>
                    <a:ext uri="{9D8B030D-6E8A-4147-A177-3AD203B41FA5}">
                      <a16:colId xmlns:a16="http://schemas.microsoft.com/office/drawing/2014/main" val="326060879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3174182623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771640016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272322197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507347182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822369757"/>
                    </a:ext>
                  </a:extLst>
                </a:gridCol>
              </a:tblGrid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sområd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1 mai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2 mai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3 mai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4 mai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5 mai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11378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jennomsnittlig forbruk (KWh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7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5571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regnin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7933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o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30571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as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58296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åsla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87507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ttlei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911034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ergi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6134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pasitets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1653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vgifte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014550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l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99471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OVA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167528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V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61269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støt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06327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8818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C11B810A-CBB4-85BA-0F71-0E261F64A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299115"/>
              </p:ext>
            </p:extLst>
          </p:nvPr>
        </p:nvGraphicFramePr>
        <p:xfrm>
          <a:off x="101868" y="2441547"/>
          <a:ext cx="4413733" cy="1963045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240528">
                  <a:extLst>
                    <a:ext uri="{9D8B030D-6E8A-4147-A177-3AD203B41FA5}">
                      <a16:colId xmlns:a16="http://schemas.microsoft.com/office/drawing/2014/main" val="398113954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277878131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02597366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45625694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49561250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091635853"/>
                    </a:ext>
                  </a:extLst>
                </a:gridCol>
              </a:tblGrid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April 202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7925184"/>
                  </a:ext>
                </a:extLst>
              </a:tr>
              <a:tr h="25212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199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230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293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81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203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567653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830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84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86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02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87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45305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730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74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75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89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77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34909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38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5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6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5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6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098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31012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6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9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9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7965168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5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5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5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4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464784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71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83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88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85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87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931535"/>
                  </a:ext>
                </a:extLst>
              </a:tr>
            </a:tbl>
          </a:graphicData>
        </a:graphic>
      </p:graphicFrame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2706DAED-C870-5851-E0A8-73F89F01C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246957"/>
              </p:ext>
            </p:extLst>
          </p:nvPr>
        </p:nvGraphicFramePr>
        <p:xfrm>
          <a:off x="4524584" y="107033"/>
          <a:ext cx="4404748" cy="2334513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346573">
                  <a:extLst>
                    <a:ext uri="{9D8B030D-6E8A-4147-A177-3AD203B41FA5}">
                      <a16:colId xmlns:a16="http://schemas.microsoft.com/office/drawing/2014/main" val="2285680509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1610842207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4248039578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2521345562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698700821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4110371051"/>
                    </a:ext>
                  </a:extLst>
                </a:gridCol>
              </a:tblGrid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i 20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748608"/>
                  </a:ext>
                </a:extLst>
              </a:tr>
              <a:tr h="3441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jennomsnittlig forbruk (KWh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8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8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5085994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trømregni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5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6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4818886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potpri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4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7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66247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ttlei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4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7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558412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pasitetsled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15998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vgif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6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9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9015495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trømstøt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9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60731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tal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4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3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31657284"/>
                  </a:ext>
                </a:extLst>
              </a:tr>
            </a:tbl>
          </a:graphicData>
        </a:graphic>
      </p:graphicFrame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9D907BB4-9F15-FD3A-91D5-E60990E33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919904"/>
              </p:ext>
            </p:extLst>
          </p:nvPr>
        </p:nvGraphicFramePr>
        <p:xfrm>
          <a:off x="4515601" y="2441547"/>
          <a:ext cx="4413734" cy="1963338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231929">
                  <a:extLst>
                    <a:ext uri="{9D8B030D-6E8A-4147-A177-3AD203B41FA5}">
                      <a16:colId xmlns:a16="http://schemas.microsoft.com/office/drawing/2014/main" val="3027831866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2328543017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97941949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816131332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786850576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2870141387"/>
                    </a:ext>
                  </a:extLst>
                </a:gridCol>
              </a:tblGrid>
              <a:tr h="25083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Mai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692216"/>
                  </a:ext>
                </a:extLst>
              </a:tr>
              <a:tr h="2530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4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8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3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7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692669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1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7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1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8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4866094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3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0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641334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5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8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119006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905243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6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2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3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645267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2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410955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8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6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9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3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9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3088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87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E74EA589-72EA-AA47-0E44-BCAE8A4D90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4656" y="565791"/>
            <a:ext cx="5453743" cy="4090307"/>
          </a:xfrm>
          <a:prstGeom prst="rect">
            <a:avLst/>
          </a:prstGeom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05F1EE16-5CB9-787E-C19C-5D8FCB48A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955" y="233392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Vedlegg 3: Utvikling over tid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309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9119b49b-2cc3-444e-b755-8692f4554da6" ContentTypeId="0x0101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4" ma:contentTypeDescription="Create a new document." ma:contentTypeScope="" ma:versionID="69b2b7d33f6fe8682b1b41d28fba9b8c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af0812f9563710aa50e4a5bad36ec487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2BBDCEB5-B3D6-4B67-942C-2366984D6890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10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-tema</vt:lpstr>
      <vt:lpstr>Strømprisindeksen mai 2024</vt:lpstr>
      <vt:lpstr>Sammenlikning april-mai</vt:lpstr>
      <vt:lpstr>Sammenligning mai 2023-2024</vt:lpstr>
      <vt:lpstr>Kraftutveksling</vt:lpstr>
      <vt:lpstr>Hva forklarer strømprisene i april?</vt:lpstr>
      <vt:lpstr>Utviklingen fremover</vt:lpstr>
      <vt:lpstr>Vedlegg 1: Detaljert regning for mai</vt:lpstr>
      <vt:lpstr>Vedlegg 2: Detaljerte sammenligninger</vt:lpstr>
      <vt:lpstr>Vedlegg 3: Utvikling over tid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4-06-11T07:4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